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86" r:id="rId5"/>
    <p:sldMasterId id="2147484394" r:id="rId6"/>
  </p:sldMasterIdLst>
  <p:notesMasterIdLst>
    <p:notesMasterId r:id="rId9"/>
  </p:notesMasterIdLst>
  <p:handoutMasterIdLst>
    <p:handoutMasterId r:id="rId10"/>
  </p:handoutMasterIdLst>
  <p:sldIdLst>
    <p:sldId id="2147472439" r:id="rId7"/>
    <p:sldId id="2147472447" r:id="rId8"/>
  </p:sldIdLst>
  <p:sldSz cx="12190413" cy="6858000"/>
  <p:notesSz cx="6888163" cy="10020300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619" userDrawn="1">
          <p15:clr>
            <a:srgbClr val="A4A3A4"/>
          </p15:clr>
        </p15:guide>
        <p15:guide id="2" orient="horz" pos="4085" userDrawn="1">
          <p15:clr>
            <a:srgbClr val="A4A3A4"/>
          </p15:clr>
        </p15:guide>
        <p15:guide id="3" pos="7423" userDrawn="1">
          <p15:clr>
            <a:srgbClr val="A4A3A4"/>
          </p15:clr>
        </p15:guide>
        <p15:guide id="4" orient="horz" pos="109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6C6"/>
    <a:srgbClr val="00BCFF"/>
    <a:srgbClr val="74C713"/>
    <a:srgbClr val="00A5E2"/>
    <a:srgbClr val="E61A5D"/>
    <a:srgbClr val="FF3162"/>
    <a:srgbClr val="624963"/>
    <a:srgbClr val="D30F4B"/>
    <a:srgbClr val="0091DF"/>
    <a:srgbClr val="0061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B044EB-CD71-4A56-B281-29426059C5A6}" v="1" dt="2023-10-26T14:45:46.744"/>
    <p1510:client id="{1D28EFB6-58A1-4025-89AD-2C07B7BC3B88}" v="1" dt="2023-11-09T23:07:04.3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inimized">
    <p:restoredLeft sz="0" autoAdjust="0"/>
    <p:restoredTop sz="0" autoAdjust="0"/>
  </p:normalViewPr>
  <p:slideViewPr>
    <p:cSldViewPr snapToGrid="0">
      <p:cViewPr varScale="1">
        <p:scale>
          <a:sx n="19" d="100"/>
          <a:sy n="19" d="100"/>
        </p:scale>
        <p:origin x="3090" y="42"/>
      </p:cViewPr>
      <p:guideLst>
        <p:guide pos="619"/>
        <p:guide orient="horz" pos="4085"/>
        <p:guide pos="7423"/>
        <p:guide orient="horz" pos="109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  <p:guide orient="horz" pos="2857"/>
        <p:guide pos="19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9671310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/>
              <a:pPr/>
              <a:t>11/10/2023</a:t>
            </a:fld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9671310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9671310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41769" y="192454"/>
            <a:ext cx="364262" cy="364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emf"/><Relationship Id="rId1" Type="http://schemas.openxmlformats.org/officeDocument/2006/relationships/theme" Target="../theme/theme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/>
              <a:pPr/>
              <a:t>11/10/2023</a:t>
            </a:fld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98071" y="2056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33215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w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wm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F12A2E-6BAC-C017-BAC5-884C536A98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8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F12A2E-6BAC-C017-BAC5-884C536A98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8A2CE43-5766-C60F-A59F-8F55640A29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229244" y="441325"/>
            <a:ext cx="10368000" cy="5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8FB7DA83-81CF-77F1-45FC-F02FF7594A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42578" y="6417332"/>
            <a:ext cx="720000" cy="216000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D692011-B083-1B54-32CF-250E296CFA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3658" y="6417332"/>
            <a:ext cx="8640000" cy="2160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9BF1ABA-1996-1F62-AC92-2A583D4F3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42578" y="6416687"/>
            <a:ext cx="432000" cy="216000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676493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7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00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4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A9B65235-D62D-400C-854E-3198C661348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4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398F366A-E60B-42B0-B3B5-2991700D2D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3758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7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938CCF8-281C-4D8B-B312-2C2E16907DCB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Company Profile ///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00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4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4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7255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7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8EC2687-37A8-4973-BCD0-92E3309ACD1E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Company Profile ///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00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4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4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99807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69946" indent="-269946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39892" indent="-269946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09838" indent="-269946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79784" indent="-269946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460056F-8BB8-494F-8B1E-E9093D41992F}" type="datetime1">
              <a:rPr lang="en-US" smtClean="0"/>
              <a:t>11/1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4" y="6617933"/>
            <a:ext cx="5710665" cy="108000"/>
          </a:xfrm>
        </p:spPr>
        <p:txBody>
          <a:bodyPr/>
          <a:lstStyle/>
          <a:p>
            <a:r>
              <a:rPr lang="en-US"/>
              <a:t>/// Bayer Company Profile ///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5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4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37865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2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370FD2F-7783-42D0-A049-4AF57A4808AA}" type="datetime1">
              <a:rPr lang="en-US" smtClean="0"/>
              <a:t>11/1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Company Profile ///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51" y="1473906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2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4903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8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2" y="3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5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EC62797-3804-451F-BE3E-5BFAD364D15B}" type="datetime1">
              <a:rPr lang="en-US" smtClean="0"/>
              <a:t>11/1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Company Profile ///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2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97174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2" y="3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62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DA08558-B8FC-4CBC-B133-BD08ED3E3579}" type="datetime1">
              <a:rPr lang="en-US" smtClean="0"/>
              <a:t>11/1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/// Bayer Company Profile ///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10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2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5628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2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4D1896E-A4ED-4A67-9868-07A060DBC6AE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Company Profile ///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2" y="1732751"/>
            <a:ext cx="10798461" cy="4751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93456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2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6C82BE2-1C78-49D3-9AE0-CC9DDDFC00EC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Company Profile ///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286458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2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6A23010-3BA3-4978-8B86-A560464C0FF3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Company Profile ///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53"/>
            <a:ext cx="5220000" cy="25920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53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90955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ajd tytuł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F12A2E-6BAC-C017-BAC5-884C536A98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277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F12A2E-6BAC-C017-BAC5-884C536A98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8A2CE43-5766-C60F-A59F-8F55640A29E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42578" y="440728"/>
            <a:ext cx="10368000" cy="54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pl-PL"/>
              <a:t>Kliknij, aby edytować styl</a:t>
            </a:r>
            <a:endParaRPr lang="en-US"/>
          </a:p>
        </p:txBody>
      </p:sp>
      <p:pic>
        <p:nvPicPr>
          <p:cNvPr id="2" name="Picture 2" descr="\\nas-mainz\Projekte_vertraulich\Bayer\17-0612_Fischer_CI-Redesign\vom Kunden\Bayer_Cross_2017_on-Screen_RGB_170630.wmf">
            <a:extLst>
              <a:ext uri="{FF2B5EF4-FFF2-40B4-BE49-F238E27FC236}">
                <a16:creationId xmlns:a16="http://schemas.microsoft.com/office/drawing/2014/main" id="{44AF71AC-D16E-0A32-AC00-26CA6D4812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243616" y="440724"/>
            <a:ext cx="504218" cy="504000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3A0095-1B18-FA44-EA43-78781610C2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4646" y="6417332"/>
            <a:ext cx="720000" cy="21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DDA201-F138-08B9-629A-0C18108219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06874" y="6417356"/>
            <a:ext cx="8640000" cy="21600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10384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1AAC33-75D6-B786-E8F6-E515E6D48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42578" y="6416687"/>
            <a:ext cx="432000" cy="216000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334067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2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CE4E47A-CEA9-45E1-82B9-1E6491D17C67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Company Profile ///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260C2FCC-6206-46B4-8A2F-5E0DC453EA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37578" y="509820"/>
            <a:ext cx="536121" cy="536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97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598">
                <a:solidFill>
                  <a:schemeClr val="tx2"/>
                </a:solidFill>
              </a:defRPr>
            </a:lvl1pPr>
            <a:lvl2pPr marL="0" indent="0" algn="l">
              <a:buNone/>
              <a:defRPr sz="6598">
                <a:solidFill>
                  <a:schemeClr val="tx2"/>
                </a:solidFill>
              </a:defRPr>
            </a:lvl2pPr>
            <a:lvl3pPr marL="0" indent="0" algn="l">
              <a:buNone/>
              <a:defRPr sz="6598">
                <a:solidFill>
                  <a:schemeClr val="tx2"/>
                </a:solidFill>
              </a:defRPr>
            </a:lvl3pPr>
            <a:lvl4pPr marL="0" indent="0" algn="l">
              <a:buNone/>
              <a:defRPr sz="6598">
                <a:solidFill>
                  <a:schemeClr val="tx2"/>
                </a:solidFill>
              </a:defRPr>
            </a:lvl4pPr>
            <a:lvl5pPr marL="0" indent="0" algn="l">
              <a:buNone/>
              <a:defRPr sz="6598">
                <a:solidFill>
                  <a:schemeClr val="tx2"/>
                </a:solidFill>
              </a:defRPr>
            </a:lvl5pPr>
            <a:lvl6pPr marL="0" indent="0" algn="l">
              <a:buNone/>
              <a:defRPr sz="6598">
                <a:solidFill>
                  <a:schemeClr val="tx2"/>
                </a:solidFill>
              </a:defRPr>
            </a:lvl6pPr>
            <a:lvl7pPr marL="0" indent="0" algn="l">
              <a:buNone/>
              <a:defRPr sz="6598">
                <a:solidFill>
                  <a:schemeClr val="tx2"/>
                </a:solidFill>
              </a:defRPr>
            </a:lvl7pPr>
            <a:lvl8pPr marL="0" indent="0" algn="l">
              <a:buNone/>
              <a:defRPr sz="6598">
                <a:solidFill>
                  <a:schemeClr val="tx2"/>
                </a:solidFill>
              </a:defRPr>
            </a:lvl8pPr>
            <a:lvl9pPr marL="0" indent="0" algn="l">
              <a:buNone/>
              <a:defRPr sz="6598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714CA0C-ACC0-4132-BB9D-804160C4A1FC}" type="datetime1">
              <a:rPr lang="en-US" smtClean="0"/>
              <a:t>11/1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Company Profile ///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96222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D96D664-2BAB-4C25-B619-DACA61F50E0B}" type="datetime1">
              <a:rPr lang="en-US" smtClean="0"/>
              <a:t>11/1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Company Profile ///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2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591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2" y="0"/>
            <a:ext cx="8198127" cy="685800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DB3E3E-FA26-4283-9D7C-3A384B155E18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Company Profile ///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398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400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4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5800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4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36545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2" y="0"/>
            <a:ext cx="8198127" cy="685800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9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E03381C-5B7A-4167-893B-240DCD544A97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Company Profile ///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398" i="1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400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4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4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94859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2" y="0"/>
            <a:ext cx="8198127" cy="685800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9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C22E844-3666-4E73-B0C2-B4ECA85960F0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Company Profile ///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398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400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4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4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631985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Image transparent 3">
    <p:bg>
      <p:bgPr>
        <a:solidFill>
          <a:srgbClr val="082B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B58DB7D2-BEAF-404E-9764-FC12BB9974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5" y="4"/>
            <a:ext cx="12190411" cy="6857999"/>
          </a:xfrm>
          <a:custGeom>
            <a:avLst/>
            <a:gdLst>
              <a:gd name="connsiteX0" fmla="*/ 384808 w 12190411"/>
              <a:gd name="connsiteY0" fmla="*/ 934719 h 6857999"/>
              <a:gd name="connsiteX1" fmla="*/ 405763 w 12190411"/>
              <a:gd name="connsiteY1" fmla="*/ 934719 h 6857999"/>
              <a:gd name="connsiteX2" fmla="*/ 410525 w 12190411"/>
              <a:gd name="connsiteY2" fmla="*/ 940434 h 6857999"/>
              <a:gd name="connsiteX3" fmla="*/ 405763 w 12190411"/>
              <a:gd name="connsiteY3" fmla="*/ 945197 h 6857999"/>
              <a:gd name="connsiteX4" fmla="*/ 384808 w 12190411"/>
              <a:gd name="connsiteY4" fmla="*/ 945197 h 6857999"/>
              <a:gd name="connsiteX5" fmla="*/ 384808 w 12190411"/>
              <a:gd name="connsiteY5" fmla="*/ 934719 h 6857999"/>
              <a:gd name="connsiteX6" fmla="*/ 371473 w 12190411"/>
              <a:gd name="connsiteY6" fmla="*/ 922337 h 6857999"/>
              <a:gd name="connsiteX7" fmla="*/ 371473 w 12190411"/>
              <a:gd name="connsiteY7" fmla="*/ 979487 h 6857999"/>
              <a:gd name="connsiteX8" fmla="*/ 383855 w 12190411"/>
              <a:gd name="connsiteY8" fmla="*/ 979487 h 6857999"/>
              <a:gd name="connsiteX9" fmla="*/ 383855 w 12190411"/>
              <a:gd name="connsiteY9" fmla="*/ 957579 h 6857999"/>
              <a:gd name="connsiteX10" fmla="*/ 398143 w 12190411"/>
              <a:gd name="connsiteY10" fmla="*/ 957579 h 6857999"/>
              <a:gd name="connsiteX11" fmla="*/ 413383 w 12190411"/>
              <a:gd name="connsiteY11" fmla="*/ 979487 h 6857999"/>
              <a:gd name="connsiteX12" fmla="*/ 428623 w 12190411"/>
              <a:gd name="connsiteY12" fmla="*/ 979487 h 6857999"/>
              <a:gd name="connsiteX13" fmla="*/ 412430 w 12190411"/>
              <a:gd name="connsiteY13" fmla="*/ 956627 h 6857999"/>
              <a:gd name="connsiteX14" fmla="*/ 422908 w 12190411"/>
              <a:gd name="connsiteY14" fmla="*/ 940434 h 6857999"/>
              <a:gd name="connsiteX15" fmla="*/ 406715 w 12190411"/>
              <a:gd name="connsiteY15" fmla="*/ 922337 h 6857999"/>
              <a:gd name="connsiteX16" fmla="*/ 371473 w 12190411"/>
              <a:gd name="connsiteY16" fmla="*/ 922337 h 6857999"/>
              <a:gd name="connsiteX17" fmla="*/ 371473 w 12190411"/>
              <a:gd name="connsiteY17" fmla="*/ 855662 h 6857999"/>
              <a:gd name="connsiteX18" fmla="*/ 371473 w 12190411"/>
              <a:gd name="connsiteY18" fmla="*/ 912812 h 6857999"/>
              <a:gd name="connsiteX19" fmla="*/ 419098 w 12190411"/>
              <a:gd name="connsiteY19" fmla="*/ 912812 h 6857999"/>
              <a:gd name="connsiteX20" fmla="*/ 419098 w 12190411"/>
              <a:gd name="connsiteY20" fmla="*/ 901382 h 6857999"/>
              <a:gd name="connsiteX21" fmla="*/ 383855 w 12190411"/>
              <a:gd name="connsiteY21" fmla="*/ 901382 h 6857999"/>
              <a:gd name="connsiteX22" fmla="*/ 383855 w 12190411"/>
              <a:gd name="connsiteY22" fmla="*/ 888999 h 6857999"/>
              <a:gd name="connsiteX23" fmla="*/ 417193 w 12190411"/>
              <a:gd name="connsiteY23" fmla="*/ 888999 h 6857999"/>
              <a:gd name="connsiteX24" fmla="*/ 417193 w 12190411"/>
              <a:gd name="connsiteY24" fmla="*/ 877569 h 6857999"/>
              <a:gd name="connsiteX25" fmla="*/ 383855 w 12190411"/>
              <a:gd name="connsiteY25" fmla="*/ 877569 h 6857999"/>
              <a:gd name="connsiteX26" fmla="*/ 383855 w 12190411"/>
              <a:gd name="connsiteY26" fmla="*/ 867092 h 6857999"/>
              <a:gd name="connsiteX27" fmla="*/ 419098 w 12190411"/>
              <a:gd name="connsiteY27" fmla="*/ 867092 h 6857999"/>
              <a:gd name="connsiteX28" fmla="*/ 419098 w 12190411"/>
              <a:gd name="connsiteY28" fmla="*/ 855662 h 6857999"/>
              <a:gd name="connsiteX29" fmla="*/ 251459 w 12190411"/>
              <a:gd name="connsiteY29" fmla="*/ 822324 h 6857999"/>
              <a:gd name="connsiteX30" fmla="*/ 276223 w 12190411"/>
              <a:gd name="connsiteY30" fmla="*/ 822324 h 6857999"/>
              <a:gd name="connsiteX31" fmla="*/ 281939 w 12190411"/>
              <a:gd name="connsiteY31" fmla="*/ 828039 h 6857999"/>
              <a:gd name="connsiteX32" fmla="*/ 276223 w 12190411"/>
              <a:gd name="connsiteY32" fmla="*/ 833754 h 6857999"/>
              <a:gd name="connsiteX33" fmla="*/ 251459 w 12190411"/>
              <a:gd name="connsiteY33" fmla="*/ 833754 h 6857999"/>
              <a:gd name="connsiteX34" fmla="*/ 332422 w 12190411"/>
              <a:gd name="connsiteY34" fmla="*/ 802322 h 6857999"/>
              <a:gd name="connsiteX35" fmla="*/ 341947 w 12190411"/>
              <a:gd name="connsiteY35" fmla="*/ 824229 h 6857999"/>
              <a:gd name="connsiteX36" fmla="*/ 322897 w 12190411"/>
              <a:gd name="connsiteY36" fmla="*/ 824229 h 6857999"/>
              <a:gd name="connsiteX37" fmla="*/ 518159 w 12190411"/>
              <a:gd name="connsiteY37" fmla="*/ 801370 h 6857999"/>
              <a:gd name="connsiteX38" fmla="*/ 538161 w 12190411"/>
              <a:gd name="connsiteY38" fmla="*/ 801370 h 6857999"/>
              <a:gd name="connsiteX39" fmla="*/ 543876 w 12190411"/>
              <a:gd name="connsiteY39" fmla="*/ 806133 h 6857999"/>
              <a:gd name="connsiteX40" fmla="*/ 538161 w 12190411"/>
              <a:gd name="connsiteY40" fmla="*/ 811848 h 6857999"/>
              <a:gd name="connsiteX41" fmla="*/ 518159 w 12190411"/>
              <a:gd name="connsiteY41" fmla="*/ 811848 h 6857999"/>
              <a:gd name="connsiteX42" fmla="*/ 518159 w 12190411"/>
              <a:gd name="connsiteY42" fmla="*/ 801370 h 6857999"/>
              <a:gd name="connsiteX43" fmla="*/ 251459 w 12190411"/>
              <a:gd name="connsiteY43" fmla="*/ 801369 h 6857999"/>
              <a:gd name="connsiteX44" fmla="*/ 275271 w 12190411"/>
              <a:gd name="connsiteY44" fmla="*/ 801369 h 6857999"/>
              <a:gd name="connsiteX45" fmla="*/ 280034 w 12190411"/>
              <a:gd name="connsiteY45" fmla="*/ 806132 h 6857999"/>
              <a:gd name="connsiteX46" fmla="*/ 275271 w 12190411"/>
              <a:gd name="connsiteY46" fmla="*/ 810894 h 6857999"/>
              <a:gd name="connsiteX47" fmla="*/ 251459 w 12190411"/>
              <a:gd name="connsiteY47" fmla="*/ 810894 h 6857999"/>
              <a:gd name="connsiteX48" fmla="*/ 438149 w 12190411"/>
              <a:gd name="connsiteY48" fmla="*/ 788988 h 6857999"/>
              <a:gd name="connsiteX49" fmla="*/ 438149 w 12190411"/>
              <a:gd name="connsiteY49" fmla="*/ 846138 h 6857999"/>
              <a:gd name="connsiteX50" fmla="*/ 485774 w 12190411"/>
              <a:gd name="connsiteY50" fmla="*/ 846138 h 6857999"/>
              <a:gd name="connsiteX51" fmla="*/ 485774 w 12190411"/>
              <a:gd name="connsiteY51" fmla="*/ 834708 h 6857999"/>
              <a:gd name="connsiteX52" fmla="*/ 450531 w 12190411"/>
              <a:gd name="connsiteY52" fmla="*/ 834708 h 6857999"/>
              <a:gd name="connsiteX53" fmla="*/ 450531 w 12190411"/>
              <a:gd name="connsiteY53" fmla="*/ 822325 h 6857999"/>
              <a:gd name="connsiteX54" fmla="*/ 485774 w 12190411"/>
              <a:gd name="connsiteY54" fmla="*/ 822325 h 6857999"/>
              <a:gd name="connsiteX55" fmla="*/ 485774 w 12190411"/>
              <a:gd name="connsiteY55" fmla="*/ 810895 h 6857999"/>
              <a:gd name="connsiteX56" fmla="*/ 450531 w 12190411"/>
              <a:gd name="connsiteY56" fmla="*/ 810895 h 6857999"/>
              <a:gd name="connsiteX57" fmla="*/ 450531 w 12190411"/>
              <a:gd name="connsiteY57" fmla="*/ 800418 h 6857999"/>
              <a:gd name="connsiteX58" fmla="*/ 485774 w 12190411"/>
              <a:gd name="connsiteY58" fmla="*/ 800418 h 6857999"/>
              <a:gd name="connsiteX59" fmla="*/ 485774 w 12190411"/>
              <a:gd name="connsiteY59" fmla="*/ 788988 h 6857999"/>
              <a:gd name="connsiteX60" fmla="*/ 361949 w 12190411"/>
              <a:gd name="connsiteY60" fmla="*/ 788988 h 6857999"/>
              <a:gd name="connsiteX61" fmla="*/ 388619 w 12190411"/>
              <a:gd name="connsiteY61" fmla="*/ 826135 h 6857999"/>
              <a:gd name="connsiteX62" fmla="*/ 388619 w 12190411"/>
              <a:gd name="connsiteY62" fmla="*/ 846138 h 6857999"/>
              <a:gd name="connsiteX63" fmla="*/ 401954 w 12190411"/>
              <a:gd name="connsiteY63" fmla="*/ 846138 h 6857999"/>
              <a:gd name="connsiteX64" fmla="*/ 401954 w 12190411"/>
              <a:gd name="connsiteY64" fmla="*/ 826135 h 6857999"/>
              <a:gd name="connsiteX65" fmla="*/ 428624 w 12190411"/>
              <a:gd name="connsiteY65" fmla="*/ 788988 h 6857999"/>
              <a:gd name="connsiteX66" fmla="*/ 413384 w 12190411"/>
              <a:gd name="connsiteY66" fmla="*/ 788988 h 6857999"/>
              <a:gd name="connsiteX67" fmla="*/ 396239 w 12190411"/>
              <a:gd name="connsiteY67" fmla="*/ 813753 h 6857999"/>
              <a:gd name="connsiteX68" fmla="*/ 377189 w 12190411"/>
              <a:gd name="connsiteY68" fmla="*/ 788988 h 6857999"/>
              <a:gd name="connsiteX69" fmla="*/ 504824 w 12190411"/>
              <a:gd name="connsiteY69" fmla="*/ 788988 h 6857999"/>
              <a:gd name="connsiteX70" fmla="*/ 504824 w 12190411"/>
              <a:gd name="connsiteY70" fmla="*/ 846138 h 6857999"/>
              <a:gd name="connsiteX71" fmla="*/ 518159 w 12190411"/>
              <a:gd name="connsiteY71" fmla="*/ 846138 h 6857999"/>
              <a:gd name="connsiteX72" fmla="*/ 518159 w 12190411"/>
              <a:gd name="connsiteY72" fmla="*/ 824230 h 6857999"/>
              <a:gd name="connsiteX73" fmla="*/ 528636 w 12190411"/>
              <a:gd name="connsiteY73" fmla="*/ 824230 h 6857999"/>
              <a:gd name="connsiteX74" fmla="*/ 545781 w 12190411"/>
              <a:gd name="connsiteY74" fmla="*/ 846138 h 6857999"/>
              <a:gd name="connsiteX75" fmla="*/ 561974 w 12190411"/>
              <a:gd name="connsiteY75" fmla="*/ 846138 h 6857999"/>
              <a:gd name="connsiteX76" fmla="*/ 544829 w 12190411"/>
              <a:gd name="connsiteY76" fmla="*/ 824230 h 6857999"/>
              <a:gd name="connsiteX77" fmla="*/ 558164 w 12190411"/>
              <a:gd name="connsiteY77" fmla="*/ 807085 h 6857999"/>
              <a:gd name="connsiteX78" fmla="*/ 540066 w 12190411"/>
              <a:gd name="connsiteY78" fmla="*/ 788988 h 6857999"/>
              <a:gd name="connsiteX79" fmla="*/ 504824 w 12190411"/>
              <a:gd name="connsiteY79" fmla="*/ 788988 h 6857999"/>
              <a:gd name="connsiteX80" fmla="*/ 326707 w 12190411"/>
              <a:gd name="connsiteY80" fmla="*/ 788988 h 6857999"/>
              <a:gd name="connsiteX81" fmla="*/ 300037 w 12190411"/>
              <a:gd name="connsiteY81" fmla="*/ 846137 h 6857999"/>
              <a:gd name="connsiteX82" fmla="*/ 314324 w 12190411"/>
              <a:gd name="connsiteY82" fmla="*/ 846137 h 6857999"/>
              <a:gd name="connsiteX83" fmla="*/ 318134 w 12190411"/>
              <a:gd name="connsiteY83" fmla="*/ 835659 h 6857999"/>
              <a:gd name="connsiteX84" fmla="*/ 347662 w 12190411"/>
              <a:gd name="connsiteY84" fmla="*/ 835659 h 6857999"/>
              <a:gd name="connsiteX85" fmla="*/ 352424 w 12190411"/>
              <a:gd name="connsiteY85" fmla="*/ 846137 h 6857999"/>
              <a:gd name="connsiteX86" fmla="*/ 366712 w 12190411"/>
              <a:gd name="connsiteY86" fmla="*/ 846137 h 6857999"/>
              <a:gd name="connsiteX87" fmla="*/ 339089 w 12190411"/>
              <a:gd name="connsiteY87" fmla="*/ 788988 h 6857999"/>
              <a:gd name="connsiteX88" fmla="*/ 238124 w 12190411"/>
              <a:gd name="connsiteY88" fmla="*/ 788987 h 6857999"/>
              <a:gd name="connsiteX89" fmla="*/ 238124 w 12190411"/>
              <a:gd name="connsiteY89" fmla="*/ 846137 h 6857999"/>
              <a:gd name="connsiteX90" fmla="*/ 278128 w 12190411"/>
              <a:gd name="connsiteY90" fmla="*/ 846137 h 6857999"/>
              <a:gd name="connsiteX91" fmla="*/ 295274 w 12190411"/>
              <a:gd name="connsiteY91" fmla="*/ 828992 h 6857999"/>
              <a:gd name="connsiteX92" fmla="*/ 289559 w 12190411"/>
              <a:gd name="connsiteY92" fmla="*/ 816609 h 6857999"/>
              <a:gd name="connsiteX93" fmla="*/ 293368 w 12190411"/>
              <a:gd name="connsiteY93" fmla="*/ 806132 h 6857999"/>
              <a:gd name="connsiteX94" fmla="*/ 277176 w 12190411"/>
              <a:gd name="connsiteY94" fmla="*/ 788987 h 6857999"/>
              <a:gd name="connsiteX95" fmla="*/ 238124 w 12190411"/>
              <a:gd name="connsiteY95" fmla="*/ 788987 h 6857999"/>
              <a:gd name="connsiteX96" fmla="*/ 394334 w 12190411"/>
              <a:gd name="connsiteY96" fmla="*/ 735647 h 6857999"/>
              <a:gd name="connsiteX97" fmla="*/ 403859 w 12190411"/>
              <a:gd name="connsiteY97" fmla="*/ 757554 h 6857999"/>
              <a:gd name="connsiteX98" fmla="*/ 384809 w 12190411"/>
              <a:gd name="connsiteY98" fmla="*/ 757554 h 6857999"/>
              <a:gd name="connsiteX99" fmla="*/ 388619 w 12190411"/>
              <a:gd name="connsiteY99" fmla="*/ 722312 h 6857999"/>
              <a:gd name="connsiteX100" fmla="*/ 361949 w 12190411"/>
              <a:gd name="connsiteY100" fmla="*/ 779462 h 6857999"/>
              <a:gd name="connsiteX101" fmla="*/ 376236 w 12190411"/>
              <a:gd name="connsiteY101" fmla="*/ 779462 h 6857999"/>
              <a:gd name="connsiteX102" fmla="*/ 380046 w 12190411"/>
              <a:gd name="connsiteY102" fmla="*/ 768984 h 6857999"/>
              <a:gd name="connsiteX103" fmla="*/ 409574 w 12190411"/>
              <a:gd name="connsiteY103" fmla="*/ 768984 h 6857999"/>
              <a:gd name="connsiteX104" fmla="*/ 414336 w 12190411"/>
              <a:gd name="connsiteY104" fmla="*/ 779462 h 6857999"/>
              <a:gd name="connsiteX105" fmla="*/ 428624 w 12190411"/>
              <a:gd name="connsiteY105" fmla="*/ 779462 h 6857999"/>
              <a:gd name="connsiteX106" fmla="*/ 401001 w 12190411"/>
              <a:gd name="connsiteY106" fmla="*/ 722312 h 6857999"/>
              <a:gd name="connsiteX107" fmla="*/ 384810 w 12190411"/>
              <a:gd name="connsiteY107" fmla="*/ 688975 h 6857999"/>
              <a:gd name="connsiteX108" fmla="*/ 409575 w 12190411"/>
              <a:gd name="connsiteY108" fmla="*/ 688975 h 6857999"/>
              <a:gd name="connsiteX109" fmla="*/ 415290 w 12190411"/>
              <a:gd name="connsiteY109" fmla="*/ 694690 h 6857999"/>
              <a:gd name="connsiteX110" fmla="*/ 409575 w 12190411"/>
              <a:gd name="connsiteY110" fmla="*/ 700405 h 6857999"/>
              <a:gd name="connsiteX111" fmla="*/ 384810 w 12190411"/>
              <a:gd name="connsiteY111" fmla="*/ 700405 h 6857999"/>
              <a:gd name="connsiteX112" fmla="*/ 384810 w 12190411"/>
              <a:gd name="connsiteY112" fmla="*/ 668020 h 6857999"/>
              <a:gd name="connsiteX113" fmla="*/ 408622 w 12190411"/>
              <a:gd name="connsiteY113" fmla="*/ 668020 h 6857999"/>
              <a:gd name="connsiteX114" fmla="*/ 413385 w 12190411"/>
              <a:gd name="connsiteY114" fmla="*/ 672783 h 6857999"/>
              <a:gd name="connsiteX115" fmla="*/ 408622 w 12190411"/>
              <a:gd name="connsiteY115" fmla="*/ 677545 h 6857999"/>
              <a:gd name="connsiteX116" fmla="*/ 384810 w 12190411"/>
              <a:gd name="connsiteY116" fmla="*/ 677545 h 6857999"/>
              <a:gd name="connsiteX117" fmla="*/ 371475 w 12190411"/>
              <a:gd name="connsiteY117" fmla="*/ 655638 h 6857999"/>
              <a:gd name="connsiteX118" fmla="*/ 371475 w 12190411"/>
              <a:gd name="connsiteY118" fmla="*/ 712788 h 6857999"/>
              <a:gd name="connsiteX119" fmla="*/ 411480 w 12190411"/>
              <a:gd name="connsiteY119" fmla="*/ 712788 h 6857999"/>
              <a:gd name="connsiteX120" fmla="*/ 428625 w 12190411"/>
              <a:gd name="connsiteY120" fmla="*/ 695643 h 6857999"/>
              <a:gd name="connsiteX121" fmla="*/ 423862 w 12190411"/>
              <a:gd name="connsiteY121" fmla="*/ 683260 h 6857999"/>
              <a:gd name="connsiteX122" fmla="*/ 426720 w 12190411"/>
              <a:gd name="connsiteY122" fmla="*/ 672783 h 6857999"/>
              <a:gd name="connsiteX123" fmla="*/ 410527 w 12190411"/>
              <a:gd name="connsiteY123" fmla="*/ 655638 h 6857999"/>
              <a:gd name="connsiteX124" fmla="*/ 371475 w 12190411"/>
              <a:gd name="connsiteY124" fmla="*/ 655638 h 6857999"/>
              <a:gd name="connsiteX125" fmla="*/ 395906 w 12190411"/>
              <a:gd name="connsiteY125" fmla="*/ 642093 h 6857999"/>
              <a:gd name="connsiteX126" fmla="*/ 556451 w 12190411"/>
              <a:gd name="connsiteY126" fmla="*/ 723125 h 6857999"/>
              <a:gd name="connsiteX127" fmla="*/ 580894 w 12190411"/>
              <a:gd name="connsiteY127" fmla="*/ 766886 h 6857999"/>
              <a:gd name="connsiteX128" fmla="*/ 580897 w 12190411"/>
              <a:gd name="connsiteY128" fmla="*/ 766897 h 6857999"/>
              <a:gd name="connsiteX129" fmla="*/ 556803 w 12190411"/>
              <a:gd name="connsiteY129" fmla="*/ 723932 h 6857999"/>
              <a:gd name="connsiteX130" fmla="*/ 396257 w 12190411"/>
              <a:gd name="connsiteY130" fmla="*/ 642938 h 6857999"/>
              <a:gd name="connsiteX131" fmla="*/ 570519 w 12190411"/>
              <a:gd name="connsiteY131" fmla="*/ 804925 h 6857999"/>
              <a:gd name="connsiteX132" fmla="*/ 570870 w 12190411"/>
              <a:gd name="connsiteY132" fmla="*/ 817197 h 6857999"/>
              <a:gd name="connsiteX133" fmla="*/ 570519 w 12190411"/>
              <a:gd name="connsiteY133" fmla="*/ 829469 h 6857999"/>
              <a:gd name="connsiteX134" fmla="*/ 396257 w 12190411"/>
              <a:gd name="connsiteY134" fmla="*/ 991281 h 6857999"/>
              <a:gd name="connsiteX135" fmla="*/ 235711 w 12190411"/>
              <a:gd name="connsiteY135" fmla="*/ 910463 h 6857999"/>
              <a:gd name="connsiteX136" fmla="*/ 211203 w 12190411"/>
              <a:gd name="connsiteY136" fmla="*/ 866701 h 6857999"/>
              <a:gd name="connsiteX137" fmla="*/ 211136 w 12190411"/>
              <a:gd name="connsiteY137" fmla="*/ 866439 h 6857999"/>
              <a:gd name="connsiteX138" fmla="*/ 235360 w 12190411"/>
              <a:gd name="connsiteY138" fmla="*/ 909744 h 6857999"/>
              <a:gd name="connsiteX139" fmla="*/ 395906 w 12190411"/>
              <a:gd name="connsiteY139" fmla="*/ 990600 h 6857999"/>
              <a:gd name="connsiteX140" fmla="*/ 221644 w 12190411"/>
              <a:gd name="connsiteY140" fmla="*/ 828712 h 6857999"/>
              <a:gd name="connsiteX141" fmla="*/ 221292 w 12190411"/>
              <a:gd name="connsiteY141" fmla="*/ 816434 h 6857999"/>
              <a:gd name="connsiteX142" fmla="*/ 221644 w 12190411"/>
              <a:gd name="connsiteY142" fmla="*/ 804157 h 6857999"/>
              <a:gd name="connsiteX143" fmla="*/ 395906 w 12190411"/>
              <a:gd name="connsiteY143" fmla="*/ 642093 h 6857999"/>
              <a:gd name="connsiteX144" fmla="*/ 395906 w 12190411"/>
              <a:gd name="connsiteY144" fmla="*/ 617538 h 6857999"/>
              <a:gd name="connsiteX145" fmla="*/ 196850 w 12190411"/>
              <a:gd name="connsiteY145" fmla="*/ 804157 h 6857999"/>
              <a:gd name="connsiteX146" fmla="*/ 197141 w 12190411"/>
              <a:gd name="connsiteY146" fmla="*/ 807054 h 6857999"/>
              <a:gd name="connsiteX147" fmla="*/ 196850 w 12190411"/>
              <a:gd name="connsiteY147" fmla="*/ 817197 h 6857999"/>
              <a:gd name="connsiteX148" fmla="*/ 197202 w 12190411"/>
              <a:gd name="connsiteY148" fmla="*/ 829469 h 6857999"/>
              <a:gd name="connsiteX149" fmla="*/ 396257 w 12190411"/>
              <a:gd name="connsiteY149" fmla="*/ 1016000 h 6857999"/>
              <a:gd name="connsiteX150" fmla="*/ 595313 w 12190411"/>
              <a:gd name="connsiteY150" fmla="*/ 829469 h 6857999"/>
              <a:gd name="connsiteX151" fmla="*/ 595023 w 12190411"/>
              <a:gd name="connsiteY151" fmla="*/ 826543 h 6857999"/>
              <a:gd name="connsiteX152" fmla="*/ 595313 w 12190411"/>
              <a:gd name="connsiteY152" fmla="*/ 816434 h 6857999"/>
              <a:gd name="connsiteX153" fmla="*/ 594961 w 12190411"/>
              <a:gd name="connsiteY153" fmla="*/ 804157 h 6857999"/>
              <a:gd name="connsiteX154" fmla="*/ 395906 w 12190411"/>
              <a:gd name="connsiteY154" fmla="*/ 617538 h 6857999"/>
              <a:gd name="connsiteX155" fmla="*/ 6285641 w 12190411"/>
              <a:gd name="connsiteY155" fmla="*/ 0 h 6857999"/>
              <a:gd name="connsiteX156" fmla="*/ 12190411 w 12190411"/>
              <a:gd name="connsiteY156" fmla="*/ 0 h 6857999"/>
              <a:gd name="connsiteX157" fmla="*/ 12190411 w 12190411"/>
              <a:gd name="connsiteY157" fmla="*/ 6005393 h 6857999"/>
              <a:gd name="connsiteX158" fmla="*/ 9456588 w 12190411"/>
              <a:gd name="connsiteY158" fmla="*/ 6488000 h 6857999"/>
              <a:gd name="connsiteX159" fmla="*/ 9456594 w 12190411"/>
              <a:gd name="connsiteY159" fmla="*/ 6487971 h 6857999"/>
              <a:gd name="connsiteX160" fmla="*/ 7360503 w 12190411"/>
              <a:gd name="connsiteY160" fmla="*/ 6857999 h 6857999"/>
              <a:gd name="connsiteX161" fmla="*/ 3780054 w 12190411"/>
              <a:gd name="connsiteY161" fmla="*/ 6857999 h 6857999"/>
              <a:gd name="connsiteX162" fmla="*/ 0 w 12190411"/>
              <a:gd name="connsiteY162" fmla="*/ 0 h 6857999"/>
              <a:gd name="connsiteX163" fmla="*/ 6266477 w 12190411"/>
              <a:gd name="connsiteY163" fmla="*/ 0 h 6857999"/>
              <a:gd name="connsiteX164" fmla="*/ 3760890 w 12190411"/>
              <a:gd name="connsiteY164" fmla="*/ 6857999 h 6857999"/>
              <a:gd name="connsiteX165" fmla="*/ 0 w 12190411"/>
              <a:gd name="connsiteY165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12190411" h="6857999">
                <a:moveTo>
                  <a:pt x="384808" y="934719"/>
                </a:moveTo>
                <a:cubicBezTo>
                  <a:pt x="384808" y="934719"/>
                  <a:pt x="384808" y="934719"/>
                  <a:pt x="405763" y="934719"/>
                </a:cubicBezTo>
                <a:cubicBezTo>
                  <a:pt x="408620" y="934719"/>
                  <a:pt x="410525" y="937577"/>
                  <a:pt x="410525" y="940434"/>
                </a:cubicBezTo>
                <a:cubicBezTo>
                  <a:pt x="410525" y="943292"/>
                  <a:pt x="407668" y="945197"/>
                  <a:pt x="405763" y="945197"/>
                </a:cubicBezTo>
                <a:cubicBezTo>
                  <a:pt x="405763" y="945197"/>
                  <a:pt x="405763" y="945197"/>
                  <a:pt x="384808" y="945197"/>
                </a:cubicBezTo>
                <a:cubicBezTo>
                  <a:pt x="384808" y="945197"/>
                  <a:pt x="384808" y="945197"/>
                  <a:pt x="384808" y="934719"/>
                </a:cubicBezTo>
                <a:close/>
                <a:moveTo>
                  <a:pt x="371473" y="922337"/>
                </a:moveTo>
                <a:cubicBezTo>
                  <a:pt x="371473" y="922337"/>
                  <a:pt x="371473" y="922337"/>
                  <a:pt x="371473" y="979487"/>
                </a:cubicBezTo>
                <a:lnTo>
                  <a:pt x="383855" y="979487"/>
                </a:lnTo>
                <a:cubicBezTo>
                  <a:pt x="383855" y="979487"/>
                  <a:pt x="383855" y="979487"/>
                  <a:pt x="383855" y="957579"/>
                </a:cubicBezTo>
                <a:cubicBezTo>
                  <a:pt x="383855" y="957579"/>
                  <a:pt x="383855" y="957579"/>
                  <a:pt x="398143" y="957579"/>
                </a:cubicBezTo>
                <a:cubicBezTo>
                  <a:pt x="398143" y="957579"/>
                  <a:pt x="398143" y="957579"/>
                  <a:pt x="413383" y="979487"/>
                </a:cubicBezTo>
                <a:cubicBezTo>
                  <a:pt x="413383" y="979487"/>
                  <a:pt x="413383" y="979487"/>
                  <a:pt x="428623" y="979487"/>
                </a:cubicBezTo>
                <a:cubicBezTo>
                  <a:pt x="428623" y="979487"/>
                  <a:pt x="428623" y="979487"/>
                  <a:pt x="412430" y="956627"/>
                </a:cubicBezTo>
                <a:cubicBezTo>
                  <a:pt x="419098" y="954722"/>
                  <a:pt x="422908" y="948054"/>
                  <a:pt x="422908" y="940434"/>
                </a:cubicBezTo>
                <a:cubicBezTo>
                  <a:pt x="422908" y="929957"/>
                  <a:pt x="416240" y="922337"/>
                  <a:pt x="406715" y="922337"/>
                </a:cubicBezTo>
                <a:cubicBezTo>
                  <a:pt x="406715" y="922337"/>
                  <a:pt x="406715" y="922337"/>
                  <a:pt x="371473" y="922337"/>
                </a:cubicBezTo>
                <a:close/>
                <a:moveTo>
                  <a:pt x="371473" y="855662"/>
                </a:moveTo>
                <a:lnTo>
                  <a:pt x="371473" y="912812"/>
                </a:lnTo>
                <a:lnTo>
                  <a:pt x="419098" y="912812"/>
                </a:lnTo>
                <a:lnTo>
                  <a:pt x="419098" y="901382"/>
                </a:lnTo>
                <a:lnTo>
                  <a:pt x="383855" y="901382"/>
                </a:lnTo>
                <a:lnTo>
                  <a:pt x="383855" y="888999"/>
                </a:lnTo>
                <a:lnTo>
                  <a:pt x="417193" y="888999"/>
                </a:lnTo>
                <a:lnTo>
                  <a:pt x="417193" y="877569"/>
                </a:lnTo>
                <a:lnTo>
                  <a:pt x="383855" y="877569"/>
                </a:lnTo>
                <a:lnTo>
                  <a:pt x="383855" y="867092"/>
                </a:lnTo>
                <a:lnTo>
                  <a:pt x="419098" y="867092"/>
                </a:lnTo>
                <a:lnTo>
                  <a:pt x="419098" y="855662"/>
                </a:lnTo>
                <a:close/>
                <a:moveTo>
                  <a:pt x="251459" y="822324"/>
                </a:moveTo>
                <a:cubicBezTo>
                  <a:pt x="251459" y="822324"/>
                  <a:pt x="251459" y="822324"/>
                  <a:pt x="276223" y="822324"/>
                </a:cubicBezTo>
                <a:cubicBezTo>
                  <a:pt x="279081" y="822324"/>
                  <a:pt x="281939" y="825182"/>
                  <a:pt x="281939" y="828039"/>
                </a:cubicBezTo>
                <a:cubicBezTo>
                  <a:pt x="281939" y="830897"/>
                  <a:pt x="279081" y="833754"/>
                  <a:pt x="276223" y="833754"/>
                </a:cubicBezTo>
                <a:cubicBezTo>
                  <a:pt x="276223" y="833754"/>
                  <a:pt x="276223" y="833754"/>
                  <a:pt x="251459" y="833754"/>
                </a:cubicBezTo>
                <a:close/>
                <a:moveTo>
                  <a:pt x="332422" y="802322"/>
                </a:moveTo>
                <a:lnTo>
                  <a:pt x="341947" y="824229"/>
                </a:lnTo>
                <a:lnTo>
                  <a:pt x="322897" y="824229"/>
                </a:lnTo>
                <a:close/>
                <a:moveTo>
                  <a:pt x="518159" y="801370"/>
                </a:moveTo>
                <a:cubicBezTo>
                  <a:pt x="518159" y="801370"/>
                  <a:pt x="518159" y="801370"/>
                  <a:pt x="538161" y="801370"/>
                </a:cubicBezTo>
                <a:cubicBezTo>
                  <a:pt x="541971" y="801370"/>
                  <a:pt x="543876" y="803275"/>
                  <a:pt x="543876" y="806133"/>
                </a:cubicBezTo>
                <a:cubicBezTo>
                  <a:pt x="543876" y="808990"/>
                  <a:pt x="541019" y="811848"/>
                  <a:pt x="538161" y="811848"/>
                </a:cubicBezTo>
                <a:cubicBezTo>
                  <a:pt x="538161" y="811848"/>
                  <a:pt x="538161" y="811848"/>
                  <a:pt x="518159" y="811848"/>
                </a:cubicBezTo>
                <a:cubicBezTo>
                  <a:pt x="518159" y="811848"/>
                  <a:pt x="518159" y="811848"/>
                  <a:pt x="518159" y="801370"/>
                </a:cubicBezTo>
                <a:close/>
                <a:moveTo>
                  <a:pt x="251459" y="801369"/>
                </a:moveTo>
                <a:cubicBezTo>
                  <a:pt x="251459" y="801369"/>
                  <a:pt x="251459" y="801369"/>
                  <a:pt x="275271" y="801369"/>
                </a:cubicBezTo>
                <a:cubicBezTo>
                  <a:pt x="278128" y="801369"/>
                  <a:pt x="280034" y="803274"/>
                  <a:pt x="280034" y="806132"/>
                </a:cubicBezTo>
                <a:cubicBezTo>
                  <a:pt x="280034" y="808989"/>
                  <a:pt x="278128" y="810894"/>
                  <a:pt x="275271" y="810894"/>
                </a:cubicBezTo>
                <a:cubicBezTo>
                  <a:pt x="275271" y="810894"/>
                  <a:pt x="275271" y="810894"/>
                  <a:pt x="251459" y="810894"/>
                </a:cubicBezTo>
                <a:close/>
                <a:moveTo>
                  <a:pt x="438149" y="788988"/>
                </a:moveTo>
                <a:lnTo>
                  <a:pt x="438149" y="846138"/>
                </a:lnTo>
                <a:lnTo>
                  <a:pt x="485774" y="846138"/>
                </a:lnTo>
                <a:lnTo>
                  <a:pt x="485774" y="834708"/>
                </a:lnTo>
                <a:lnTo>
                  <a:pt x="450531" y="834708"/>
                </a:lnTo>
                <a:lnTo>
                  <a:pt x="450531" y="822325"/>
                </a:lnTo>
                <a:lnTo>
                  <a:pt x="485774" y="822325"/>
                </a:lnTo>
                <a:lnTo>
                  <a:pt x="485774" y="810895"/>
                </a:lnTo>
                <a:lnTo>
                  <a:pt x="450531" y="810895"/>
                </a:lnTo>
                <a:lnTo>
                  <a:pt x="450531" y="800418"/>
                </a:lnTo>
                <a:lnTo>
                  <a:pt x="485774" y="800418"/>
                </a:lnTo>
                <a:lnTo>
                  <a:pt x="485774" y="788988"/>
                </a:lnTo>
                <a:close/>
                <a:moveTo>
                  <a:pt x="361949" y="788988"/>
                </a:moveTo>
                <a:lnTo>
                  <a:pt x="388619" y="826135"/>
                </a:lnTo>
                <a:lnTo>
                  <a:pt x="388619" y="846138"/>
                </a:lnTo>
                <a:lnTo>
                  <a:pt x="401954" y="846138"/>
                </a:lnTo>
                <a:lnTo>
                  <a:pt x="401954" y="826135"/>
                </a:lnTo>
                <a:lnTo>
                  <a:pt x="428624" y="788988"/>
                </a:lnTo>
                <a:lnTo>
                  <a:pt x="413384" y="788988"/>
                </a:lnTo>
                <a:lnTo>
                  <a:pt x="396239" y="813753"/>
                </a:lnTo>
                <a:lnTo>
                  <a:pt x="377189" y="788988"/>
                </a:lnTo>
                <a:close/>
                <a:moveTo>
                  <a:pt x="504824" y="788988"/>
                </a:moveTo>
                <a:cubicBezTo>
                  <a:pt x="504824" y="788988"/>
                  <a:pt x="504824" y="788988"/>
                  <a:pt x="504824" y="846138"/>
                </a:cubicBezTo>
                <a:cubicBezTo>
                  <a:pt x="504824" y="846138"/>
                  <a:pt x="504824" y="846138"/>
                  <a:pt x="518159" y="846138"/>
                </a:cubicBezTo>
                <a:cubicBezTo>
                  <a:pt x="518159" y="846138"/>
                  <a:pt x="518159" y="846138"/>
                  <a:pt x="518159" y="824230"/>
                </a:cubicBezTo>
                <a:cubicBezTo>
                  <a:pt x="518159" y="824230"/>
                  <a:pt x="518159" y="824230"/>
                  <a:pt x="528636" y="824230"/>
                </a:cubicBezTo>
                <a:lnTo>
                  <a:pt x="545781" y="846138"/>
                </a:lnTo>
                <a:cubicBezTo>
                  <a:pt x="545781" y="846138"/>
                  <a:pt x="545781" y="846138"/>
                  <a:pt x="561974" y="846138"/>
                </a:cubicBezTo>
                <a:cubicBezTo>
                  <a:pt x="561974" y="846138"/>
                  <a:pt x="561974" y="846138"/>
                  <a:pt x="544829" y="824230"/>
                </a:cubicBezTo>
                <a:cubicBezTo>
                  <a:pt x="552449" y="821373"/>
                  <a:pt x="558164" y="814705"/>
                  <a:pt x="558164" y="807085"/>
                </a:cubicBezTo>
                <a:cubicBezTo>
                  <a:pt x="558164" y="796608"/>
                  <a:pt x="549591" y="788988"/>
                  <a:pt x="540066" y="788988"/>
                </a:cubicBezTo>
                <a:cubicBezTo>
                  <a:pt x="540066" y="788988"/>
                  <a:pt x="540066" y="788988"/>
                  <a:pt x="504824" y="788988"/>
                </a:cubicBezTo>
                <a:close/>
                <a:moveTo>
                  <a:pt x="326707" y="788988"/>
                </a:moveTo>
                <a:lnTo>
                  <a:pt x="300037" y="846137"/>
                </a:lnTo>
                <a:lnTo>
                  <a:pt x="314324" y="846137"/>
                </a:lnTo>
                <a:lnTo>
                  <a:pt x="318134" y="835659"/>
                </a:lnTo>
                <a:lnTo>
                  <a:pt x="347662" y="835659"/>
                </a:lnTo>
                <a:lnTo>
                  <a:pt x="352424" y="846137"/>
                </a:lnTo>
                <a:lnTo>
                  <a:pt x="366712" y="846137"/>
                </a:lnTo>
                <a:lnTo>
                  <a:pt x="339089" y="788988"/>
                </a:lnTo>
                <a:close/>
                <a:moveTo>
                  <a:pt x="238124" y="788987"/>
                </a:moveTo>
                <a:cubicBezTo>
                  <a:pt x="238124" y="788987"/>
                  <a:pt x="238124" y="788987"/>
                  <a:pt x="238124" y="846137"/>
                </a:cubicBezTo>
                <a:cubicBezTo>
                  <a:pt x="238124" y="846137"/>
                  <a:pt x="238124" y="846137"/>
                  <a:pt x="278128" y="846137"/>
                </a:cubicBezTo>
                <a:cubicBezTo>
                  <a:pt x="287654" y="846137"/>
                  <a:pt x="295274" y="838517"/>
                  <a:pt x="295274" y="828992"/>
                </a:cubicBezTo>
                <a:cubicBezTo>
                  <a:pt x="295274" y="824229"/>
                  <a:pt x="293368" y="819467"/>
                  <a:pt x="289559" y="816609"/>
                </a:cubicBezTo>
                <a:cubicBezTo>
                  <a:pt x="292416" y="813752"/>
                  <a:pt x="294321" y="809942"/>
                  <a:pt x="293368" y="806132"/>
                </a:cubicBezTo>
                <a:cubicBezTo>
                  <a:pt x="293368" y="796607"/>
                  <a:pt x="286701" y="788987"/>
                  <a:pt x="277176" y="788987"/>
                </a:cubicBezTo>
                <a:cubicBezTo>
                  <a:pt x="277176" y="788987"/>
                  <a:pt x="277176" y="788987"/>
                  <a:pt x="238124" y="788987"/>
                </a:cubicBezTo>
                <a:close/>
                <a:moveTo>
                  <a:pt x="394334" y="735647"/>
                </a:moveTo>
                <a:lnTo>
                  <a:pt x="403859" y="757554"/>
                </a:lnTo>
                <a:lnTo>
                  <a:pt x="384809" y="757554"/>
                </a:lnTo>
                <a:close/>
                <a:moveTo>
                  <a:pt x="388619" y="722312"/>
                </a:moveTo>
                <a:lnTo>
                  <a:pt x="361949" y="779462"/>
                </a:lnTo>
                <a:lnTo>
                  <a:pt x="376236" y="779462"/>
                </a:lnTo>
                <a:lnTo>
                  <a:pt x="380046" y="768984"/>
                </a:lnTo>
                <a:lnTo>
                  <a:pt x="409574" y="768984"/>
                </a:lnTo>
                <a:lnTo>
                  <a:pt x="414336" y="779462"/>
                </a:lnTo>
                <a:lnTo>
                  <a:pt x="428624" y="779462"/>
                </a:lnTo>
                <a:lnTo>
                  <a:pt x="401001" y="722312"/>
                </a:lnTo>
                <a:close/>
                <a:moveTo>
                  <a:pt x="384810" y="688975"/>
                </a:moveTo>
                <a:cubicBezTo>
                  <a:pt x="384810" y="688975"/>
                  <a:pt x="384810" y="688975"/>
                  <a:pt x="409575" y="688975"/>
                </a:cubicBezTo>
                <a:cubicBezTo>
                  <a:pt x="413385" y="688975"/>
                  <a:pt x="415290" y="691833"/>
                  <a:pt x="415290" y="694690"/>
                </a:cubicBezTo>
                <a:cubicBezTo>
                  <a:pt x="415290" y="697548"/>
                  <a:pt x="412432" y="700405"/>
                  <a:pt x="409575" y="700405"/>
                </a:cubicBezTo>
                <a:cubicBezTo>
                  <a:pt x="409575" y="700405"/>
                  <a:pt x="409575" y="700405"/>
                  <a:pt x="384810" y="700405"/>
                </a:cubicBezTo>
                <a:close/>
                <a:moveTo>
                  <a:pt x="384810" y="668020"/>
                </a:moveTo>
                <a:cubicBezTo>
                  <a:pt x="384810" y="668020"/>
                  <a:pt x="384810" y="668020"/>
                  <a:pt x="408622" y="668020"/>
                </a:cubicBezTo>
                <a:cubicBezTo>
                  <a:pt x="411480" y="668020"/>
                  <a:pt x="413385" y="669925"/>
                  <a:pt x="413385" y="672783"/>
                </a:cubicBezTo>
                <a:cubicBezTo>
                  <a:pt x="413385" y="675640"/>
                  <a:pt x="411480" y="677545"/>
                  <a:pt x="408622" y="677545"/>
                </a:cubicBezTo>
                <a:cubicBezTo>
                  <a:pt x="408622" y="677545"/>
                  <a:pt x="408622" y="677545"/>
                  <a:pt x="384810" y="677545"/>
                </a:cubicBezTo>
                <a:close/>
                <a:moveTo>
                  <a:pt x="371475" y="655638"/>
                </a:moveTo>
                <a:cubicBezTo>
                  <a:pt x="371475" y="655638"/>
                  <a:pt x="371475" y="655638"/>
                  <a:pt x="371475" y="712788"/>
                </a:cubicBezTo>
                <a:cubicBezTo>
                  <a:pt x="371475" y="712788"/>
                  <a:pt x="371475" y="712788"/>
                  <a:pt x="411480" y="712788"/>
                </a:cubicBezTo>
                <a:cubicBezTo>
                  <a:pt x="421005" y="712788"/>
                  <a:pt x="428625" y="705168"/>
                  <a:pt x="428625" y="695643"/>
                </a:cubicBezTo>
                <a:cubicBezTo>
                  <a:pt x="428625" y="690880"/>
                  <a:pt x="426720" y="686118"/>
                  <a:pt x="423862" y="683260"/>
                </a:cubicBezTo>
                <a:cubicBezTo>
                  <a:pt x="425767" y="680403"/>
                  <a:pt x="427672" y="676593"/>
                  <a:pt x="426720" y="672783"/>
                </a:cubicBezTo>
                <a:cubicBezTo>
                  <a:pt x="426720" y="663258"/>
                  <a:pt x="420052" y="655638"/>
                  <a:pt x="410527" y="655638"/>
                </a:cubicBezTo>
                <a:cubicBezTo>
                  <a:pt x="410527" y="655638"/>
                  <a:pt x="410527" y="655638"/>
                  <a:pt x="371475" y="655638"/>
                </a:cubicBezTo>
                <a:close/>
                <a:moveTo>
                  <a:pt x="395906" y="642093"/>
                </a:moveTo>
                <a:cubicBezTo>
                  <a:pt x="461671" y="642093"/>
                  <a:pt x="520052" y="674015"/>
                  <a:pt x="556451" y="723125"/>
                </a:cubicBezTo>
                <a:cubicBezTo>
                  <a:pt x="566299" y="736543"/>
                  <a:pt x="574563" y="751232"/>
                  <a:pt x="580894" y="766886"/>
                </a:cubicBezTo>
                <a:lnTo>
                  <a:pt x="580897" y="766897"/>
                </a:lnTo>
                <a:lnTo>
                  <a:pt x="556803" y="723932"/>
                </a:lnTo>
                <a:cubicBezTo>
                  <a:pt x="520403" y="674845"/>
                  <a:pt x="462023" y="642938"/>
                  <a:pt x="396257" y="642938"/>
                </a:cubicBezTo>
                <a:cubicBezTo>
                  <a:pt x="488399" y="642938"/>
                  <a:pt x="564188" y="714465"/>
                  <a:pt x="570519" y="804925"/>
                </a:cubicBezTo>
                <a:cubicBezTo>
                  <a:pt x="570695" y="808958"/>
                  <a:pt x="570870" y="812990"/>
                  <a:pt x="570870" y="817197"/>
                </a:cubicBezTo>
                <a:cubicBezTo>
                  <a:pt x="570870" y="821229"/>
                  <a:pt x="570695" y="825437"/>
                  <a:pt x="570519" y="829469"/>
                </a:cubicBezTo>
                <a:cubicBezTo>
                  <a:pt x="564188" y="919754"/>
                  <a:pt x="488399" y="991281"/>
                  <a:pt x="396257" y="991281"/>
                </a:cubicBezTo>
                <a:cubicBezTo>
                  <a:pt x="330316" y="991281"/>
                  <a:pt x="271935" y="959550"/>
                  <a:pt x="235711" y="910463"/>
                </a:cubicBezTo>
                <a:cubicBezTo>
                  <a:pt x="225776" y="897051"/>
                  <a:pt x="217512" y="882369"/>
                  <a:pt x="211203" y="866701"/>
                </a:cubicBezTo>
                <a:lnTo>
                  <a:pt x="211136" y="866439"/>
                </a:lnTo>
                <a:lnTo>
                  <a:pt x="235360" y="909744"/>
                </a:lnTo>
                <a:cubicBezTo>
                  <a:pt x="271760" y="958854"/>
                  <a:pt x="329964" y="990600"/>
                  <a:pt x="395906" y="990600"/>
                </a:cubicBezTo>
                <a:cubicBezTo>
                  <a:pt x="303763" y="990600"/>
                  <a:pt x="227974" y="919039"/>
                  <a:pt x="221644" y="828712"/>
                </a:cubicBezTo>
                <a:cubicBezTo>
                  <a:pt x="221292" y="824678"/>
                  <a:pt x="221292" y="820468"/>
                  <a:pt x="221292" y="816434"/>
                </a:cubicBezTo>
                <a:cubicBezTo>
                  <a:pt x="221292" y="812225"/>
                  <a:pt x="221292" y="808191"/>
                  <a:pt x="221644" y="804157"/>
                </a:cubicBezTo>
                <a:cubicBezTo>
                  <a:pt x="227974" y="713654"/>
                  <a:pt x="303763" y="642093"/>
                  <a:pt x="395906" y="642093"/>
                </a:cubicBezTo>
                <a:close/>
                <a:moveTo>
                  <a:pt x="395906" y="617538"/>
                </a:moveTo>
                <a:cubicBezTo>
                  <a:pt x="289872" y="617538"/>
                  <a:pt x="203356" y="699973"/>
                  <a:pt x="196850" y="804157"/>
                </a:cubicBezTo>
                <a:lnTo>
                  <a:pt x="197141" y="807054"/>
                </a:lnTo>
                <a:lnTo>
                  <a:pt x="196850" y="817197"/>
                </a:lnTo>
                <a:cubicBezTo>
                  <a:pt x="196850" y="821229"/>
                  <a:pt x="197026" y="825437"/>
                  <a:pt x="197202" y="829469"/>
                </a:cubicBezTo>
                <a:cubicBezTo>
                  <a:pt x="203708" y="933604"/>
                  <a:pt x="290223" y="1016000"/>
                  <a:pt x="396257" y="1016000"/>
                </a:cubicBezTo>
                <a:cubicBezTo>
                  <a:pt x="502291" y="1016000"/>
                  <a:pt x="588806" y="933604"/>
                  <a:pt x="595313" y="829469"/>
                </a:cubicBezTo>
                <a:lnTo>
                  <a:pt x="595023" y="826543"/>
                </a:lnTo>
                <a:lnTo>
                  <a:pt x="595313" y="816434"/>
                </a:lnTo>
                <a:cubicBezTo>
                  <a:pt x="595313" y="812225"/>
                  <a:pt x="595137" y="808191"/>
                  <a:pt x="594961" y="804157"/>
                </a:cubicBezTo>
                <a:cubicBezTo>
                  <a:pt x="588455" y="699973"/>
                  <a:pt x="501940" y="617538"/>
                  <a:pt x="395906" y="617538"/>
                </a:cubicBezTo>
                <a:close/>
                <a:moveTo>
                  <a:pt x="6285641" y="0"/>
                </a:moveTo>
                <a:lnTo>
                  <a:pt x="12190411" y="0"/>
                </a:lnTo>
                <a:lnTo>
                  <a:pt x="12190411" y="6005393"/>
                </a:lnTo>
                <a:lnTo>
                  <a:pt x="9456588" y="6488000"/>
                </a:lnTo>
                <a:lnTo>
                  <a:pt x="9456594" y="6487971"/>
                </a:lnTo>
                <a:lnTo>
                  <a:pt x="7360503" y="6857999"/>
                </a:lnTo>
                <a:lnTo>
                  <a:pt x="3780054" y="6857999"/>
                </a:lnTo>
                <a:close/>
                <a:moveTo>
                  <a:pt x="0" y="0"/>
                </a:moveTo>
                <a:lnTo>
                  <a:pt x="6266477" y="0"/>
                </a:lnTo>
                <a:lnTo>
                  <a:pt x="3760890" y="6857999"/>
                </a:lnTo>
                <a:lnTo>
                  <a:pt x="0" y="685799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2845E33-357F-47FD-87A8-70D09DB9CAD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-13941" y="-19049"/>
            <a:ext cx="6057037" cy="6877049"/>
          </a:xfrm>
          <a:custGeom>
            <a:avLst/>
            <a:gdLst>
              <a:gd name="connsiteX0" fmla="*/ 5798642 w 6057037"/>
              <a:gd name="connsiteY0" fmla="*/ 1332612 h 6877049"/>
              <a:gd name="connsiteX1" fmla="*/ 4723899 w 6057037"/>
              <a:gd name="connsiteY1" fmla="*/ 6875332 h 6877049"/>
              <a:gd name="connsiteX2" fmla="*/ 4723899 w 6057037"/>
              <a:gd name="connsiteY2" fmla="*/ 6877049 h 6877049"/>
              <a:gd name="connsiteX3" fmla="*/ 3772669 w 6057037"/>
              <a:gd name="connsiteY3" fmla="*/ 6877049 h 6877049"/>
              <a:gd name="connsiteX4" fmla="*/ 384809 w 6057037"/>
              <a:gd name="connsiteY4" fmla="*/ 944244 h 6877049"/>
              <a:gd name="connsiteX5" fmla="*/ 405764 w 6057037"/>
              <a:gd name="connsiteY5" fmla="*/ 944244 h 6877049"/>
              <a:gd name="connsiteX6" fmla="*/ 410526 w 6057037"/>
              <a:gd name="connsiteY6" fmla="*/ 949959 h 6877049"/>
              <a:gd name="connsiteX7" fmla="*/ 405764 w 6057037"/>
              <a:gd name="connsiteY7" fmla="*/ 954722 h 6877049"/>
              <a:gd name="connsiteX8" fmla="*/ 384809 w 6057037"/>
              <a:gd name="connsiteY8" fmla="*/ 954722 h 6877049"/>
              <a:gd name="connsiteX9" fmla="*/ 384809 w 6057037"/>
              <a:gd name="connsiteY9" fmla="*/ 944244 h 6877049"/>
              <a:gd name="connsiteX10" fmla="*/ 371474 w 6057037"/>
              <a:gd name="connsiteY10" fmla="*/ 931862 h 6877049"/>
              <a:gd name="connsiteX11" fmla="*/ 371474 w 6057037"/>
              <a:gd name="connsiteY11" fmla="*/ 989012 h 6877049"/>
              <a:gd name="connsiteX12" fmla="*/ 383856 w 6057037"/>
              <a:gd name="connsiteY12" fmla="*/ 989012 h 6877049"/>
              <a:gd name="connsiteX13" fmla="*/ 383856 w 6057037"/>
              <a:gd name="connsiteY13" fmla="*/ 967104 h 6877049"/>
              <a:gd name="connsiteX14" fmla="*/ 398144 w 6057037"/>
              <a:gd name="connsiteY14" fmla="*/ 967104 h 6877049"/>
              <a:gd name="connsiteX15" fmla="*/ 413384 w 6057037"/>
              <a:gd name="connsiteY15" fmla="*/ 989012 h 6877049"/>
              <a:gd name="connsiteX16" fmla="*/ 428624 w 6057037"/>
              <a:gd name="connsiteY16" fmla="*/ 989012 h 6877049"/>
              <a:gd name="connsiteX17" fmla="*/ 412431 w 6057037"/>
              <a:gd name="connsiteY17" fmla="*/ 966152 h 6877049"/>
              <a:gd name="connsiteX18" fmla="*/ 422909 w 6057037"/>
              <a:gd name="connsiteY18" fmla="*/ 949959 h 6877049"/>
              <a:gd name="connsiteX19" fmla="*/ 406716 w 6057037"/>
              <a:gd name="connsiteY19" fmla="*/ 931862 h 6877049"/>
              <a:gd name="connsiteX20" fmla="*/ 371474 w 6057037"/>
              <a:gd name="connsiteY20" fmla="*/ 931862 h 6877049"/>
              <a:gd name="connsiteX21" fmla="*/ 371474 w 6057037"/>
              <a:gd name="connsiteY21" fmla="*/ 865187 h 6877049"/>
              <a:gd name="connsiteX22" fmla="*/ 371474 w 6057037"/>
              <a:gd name="connsiteY22" fmla="*/ 922337 h 6877049"/>
              <a:gd name="connsiteX23" fmla="*/ 419099 w 6057037"/>
              <a:gd name="connsiteY23" fmla="*/ 922337 h 6877049"/>
              <a:gd name="connsiteX24" fmla="*/ 419099 w 6057037"/>
              <a:gd name="connsiteY24" fmla="*/ 910907 h 6877049"/>
              <a:gd name="connsiteX25" fmla="*/ 383856 w 6057037"/>
              <a:gd name="connsiteY25" fmla="*/ 910907 h 6877049"/>
              <a:gd name="connsiteX26" fmla="*/ 383856 w 6057037"/>
              <a:gd name="connsiteY26" fmla="*/ 898524 h 6877049"/>
              <a:gd name="connsiteX27" fmla="*/ 417194 w 6057037"/>
              <a:gd name="connsiteY27" fmla="*/ 898524 h 6877049"/>
              <a:gd name="connsiteX28" fmla="*/ 417194 w 6057037"/>
              <a:gd name="connsiteY28" fmla="*/ 887094 h 6877049"/>
              <a:gd name="connsiteX29" fmla="*/ 383856 w 6057037"/>
              <a:gd name="connsiteY29" fmla="*/ 887094 h 6877049"/>
              <a:gd name="connsiteX30" fmla="*/ 383856 w 6057037"/>
              <a:gd name="connsiteY30" fmla="*/ 876617 h 6877049"/>
              <a:gd name="connsiteX31" fmla="*/ 419099 w 6057037"/>
              <a:gd name="connsiteY31" fmla="*/ 876617 h 6877049"/>
              <a:gd name="connsiteX32" fmla="*/ 419099 w 6057037"/>
              <a:gd name="connsiteY32" fmla="*/ 865187 h 6877049"/>
              <a:gd name="connsiteX33" fmla="*/ 251459 w 6057037"/>
              <a:gd name="connsiteY33" fmla="*/ 831849 h 6877049"/>
              <a:gd name="connsiteX34" fmla="*/ 276224 w 6057037"/>
              <a:gd name="connsiteY34" fmla="*/ 831849 h 6877049"/>
              <a:gd name="connsiteX35" fmla="*/ 281939 w 6057037"/>
              <a:gd name="connsiteY35" fmla="*/ 837564 h 6877049"/>
              <a:gd name="connsiteX36" fmla="*/ 276224 w 6057037"/>
              <a:gd name="connsiteY36" fmla="*/ 843279 h 6877049"/>
              <a:gd name="connsiteX37" fmla="*/ 251459 w 6057037"/>
              <a:gd name="connsiteY37" fmla="*/ 843279 h 6877049"/>
              <a:gd name="connsiteX38" fmla="*/ 332422 w 6057037"/>
              <a:gd name="connsiteY38" fmla="*/ 811847 h 6877049"/>
              <a:gd name="connsiteX39" fmla="*/ 341947 w 6057037"/>
              <a:gd name="connsiteY39" fmla="*/ 833755 h 6877049"/>
              <a:gd name="connsiteX40" fmla="*/ 322897 w 6057037"/>
              <a:gd name="connsiteY40" fmla="*/ 833755 h 6877049"/>
              <a:gd name="connsiteX41" fmla="*/ 518160 w 6057037"/>
              <a:gd name="connsiteY41" fmla="*/ 810895 h 6877049"/>
              <a:gd name="connsiteX42" fmla="*/ 538161 w 6057037"/>
              <a:gd name="connsiteY42" fmla="*/ 810895 h 6877049"/>
              <a:gd name="connsiteX43" fmla="*/ 543877 w 6057037"/>
              <a:gd name="connsiteY43" fmla="*/ 815658 h 6877049"/>
              <a:gd name="connsiteX44" fmla="*/ 538161 w 6057037"/>
              <a:gd name="connsiteY44" fmla="*/ 821373 h 6877049"/>
              <a:gd name="connsiteX45" fmla="*/ 518160 w 6057037"/>
              <a:gd name="connsiteY45" fmla="*/ 821373 h 6877049"/>
              <a:gd name="connsiteX46" fmla="*/ 518160 w 6057037"/>
              <a:gd name="connsiteY46" fmla="*/ 810895 h 6877049"/>
              <a:gd name="connsiteX47" fmla="*/ 251459 w 6057037"/>
              <a:gd name="connsiteY47" fmla="*/ 810894 h 6877049"/>
              <a:gd name="connsiteX48" fmla="*/ 275271 w 6057037"/>
              <a:gd name="connsiteY48" fmla="*/ 810894 h 6877049"/>
              <a:gd name="connsiteX49" fmla="*/ 280034 w 6057037"/>
              <a:gd name="connsiteY49" fmla="*/ 815657 h 6877049"/>
              <a:gd name="connsiteX50" fmla="*/ 275271 w 6057037"/>
              <a:gd name="connsiteY50" fmla="*/ 820419 h 6877049"/>
              <a:gd name="connsiteX51" fmla="*/ 251459 w 6057037"/>
              <a:gd name="connsiteY51" fmla="*/ 820419 h 6877049"/>
              <a:gd name="connsiteX52" fmla="*/ 361950 w 6057037"/>
              <a:gd name="connsiteY52" fmla="*/ 798513 h 6877049"/>
              <a:gd name="connsiteX53" fmla="*/ 388620 w 6057037"/>
              <a:gd name="connsiteY53" fmla="*/ 835660 h 6877049"/>
              <a:gd name="connsiteX54" fmla="*/ 388620 w 6057037"/>
              <a:gd name="connsiteY54" fmla="*/ 855663 h 6877049"/>
              <a:gd name="connsiteX55" fmla="*/ 401955 w 6057037"/>
              <a:gd name="connsiteY55" fmla="*/ 855663 h 6877049"/>
              <a:gd name="connsiteX56" fmla="*/ 401955 w 6057037"/>
              <a:gd name="connsiteY56" fmla="*/ 835660 h 6877049"/>
              <a:gd name="connsiteX57" fmla="*/ 428625 w 6057037"/>
              <a:gd name="connsiteY57" fmla="*/ 798513 h 6877049"/>
              <a:gd name="connsiteX58" fmla="*/ 413385 w 6057037"/>
              <a:gd name="connsiteY58" fmla="*/ 798513 h 6877049"/>
              <a:gd name="connsiteX59" fmla="*/ 396240 w 6057037"/>
              <a:gd name="connsiteY59" fmla="*/ 823278 h 6877049"/>
              <a:gd name="connsiteX60" fmla="*/ 377190 w 6057037"/>
              <a:gd name="connsiteY60" fmla="*/ 798513 h 6877049"/>
              <a:gd name="connsiteX61" fmla="*/ 438150 w 6057037"/>
              <a:gd name="connsiteY61" fmla="*/ 798513 h 6877049"/>
              <a:gd name="connsiteX62" fmla="*/ 438150 w 6057037"/>
              <a:gd name="connsiteY62" fmla="*/ 855663 h 6877049"/>
              <a:gd name="connsiteX63" fmla="*/ 485775 w 6057037"/>
              <a:gd name="connsiteY63" fmla="*/ 855663 h 6877049"/>
              <a:gd name="connsiteX64" fmla="*/ 485775 w 6057037"/>
              <a:gd name="connsiteY64" fmla="*/ 844233 h 6877049"/>
              <a:gd name="connsiteX65" fmla="*/ 450532 w 6057037"/>
              <a:gd name="connsiteY65" fmla="*/ 844233 h 6877049"/>
              <a:gd name="connsiteX66" fmla="*/ 450532 w 6057037"/>
              <a:gd name="connsiteY66" fmla="*/ 831850 h 6877049"/>
              <a:gd name="connsiteX67" fmla="*/ 485775 w 6057037"/>
              <a:gd name="connsiteY67" fmla="*/ 831850 h 6877049"/>
              <a:gd name="connsiteX68" fmla="*/ 485775 w 6057037"/>
              <a:gd name="connsiteY68" fmla="*/ 820420 h 6877049"/>
              <a:gd name="connsiteX69" fmla="*/ 450532 w 6057037"/>
              <a:gd name="connsiteY69" fmla="*/ 820420 h 6877049"/>
              <a:gd name="connsiteX70" fmla="*/ 450532 w 6057037"/>
              <a:gd name="connsiteY70" fmla="*/ 809943 h 6877049"/>
              <a:gd name="connsiteX71" fmla="*/ 485775 w 6057037"/>
              <a:gd name="connsiteY71" fmla="*/ 809943 h 6877049"/>
              <a:gd name="connsiteX72" fmla="*/ 485775 w 6057037"/>
              <a:gd name="connsiteY72" fmla="*/ 798513 h 6877049"/>
              <a:gd name="connsiteX73" fmla="*/ 504825 w 6057037"/>
              <a:gd name="connsiteY73" fmla="*/ 798513 h 6877049"/>
              <a:gd name="connsiteX74" fmla="*/ 504825 w 6057037"/>
              <a:gd name="connsiteY74" fmla="*/ 855663 h 6877049"/>
              <a:gd name="connsiteX75" fmla="*/ 518160 w 6057037"/>
              <a:gd name="connsiteY75" fmla="*/ 855663 h 6877049"/>
              <a:gd name="connsiteX76" fmla="*/ 518160 w 6057037"/>
              <a:gd name="connsiteY76" fmla="*/ 833755 h 6877049"/>
              <a:gd name="connsiteX77" fmla="*/ 528637 w 6057037"/>
              <a:gd name="connsiteY77" fmla="*/ 833755 h 6877049"/>
              <a:gd name="connsiteX78" fmla="*/ 545782 w 6057037"/>
              <a:gd name="connsiteY78" fmla="*/ 855663 h 6877049"/>
              <a:gd name="connsiteX79" fmla="*/ 561975 w 6057037"/>
              <a:gd name="connsiteY79" fmla="*/ 855663 h 6877049"/>
              <a:gd name="connsiteX80" fmla="*/ 544829 w 6057037"/>
              <a:gd name="connsiteY80" fmla="*/ 833755 h 6877049"/>
              <a:gd name="connsiteX81" fmla="*/ 558164 w 6057037"/>
              <a:gd name="connsiteY81" fmla="*/ 816610 h 6877049"/>
              <a:gd name="connsiteX82" fmla="*/ 540067 w 6057037"/>
              <a:gd name="connsiteY82" fmla="*/ 798513 h 6877049"/>
              <a:gd name="connsiteX83" fmla="*/ 504825 w 6057037"/>
              <a:gd name="connsiteY83" fmla="*/ 798513 h 6877049"/>
              <a:gd name="connsiteX84" fmla="*/ 326707 w 6057037"/>
              <a:gd name="connsiteY84" fmla="*/ 798512 h 6877049"/>
              <a:gd name="connsiteX85" fmla="*/ 300037 w 6057037"/>
              <a:gd name="connsiteY85" fmla="*/ 855662 h 6877049"/>
              <a:gd name="connsiteX86" fmla="*/ 314324 w 6057037"/>
              <a:gd name="connsiteY86" fmla="*/ 855662 h 6877049"/>
              <a:gd name="connsiteX87" fmla="*/ 318134 w 6057037"/>
              <a:gd name="connsiteY87" fmla="*/ 845184 h 6877049"/>
              <a:gd name="connsiteX88" fmla="*/ 347662 w 6057037"/>
              <a:gd name="connsiteY88" fmla="*/ 845184 h 6877049"/>
              <a:gd name="connsiteX89" fmla="*/ 352424 w 6057037"/>
              <a:gd name="connsiteY89" fmla="*/ 855662 h 6877049"/>
              <a:gd name="connsiteX90" fmla="*/ 366712 w 6057037"/>
              <a:gd name="connsiteY90" fmla="*/ 855662 h 6877049"/>
              <a:gd name="connsiteX91" fmla="*/ 339089 w 6057037"/>
              <a:gd name="connsiteY91" fmla="*/ 798512 h 6877049"/>
              <a:gd name="connsiteX92" fmla="*/ 238124 w 6057037"/>
              <a:gd name="connsiteY92" fmla="*/ 798512 h 6877049"/>
              <a:gd name="connsiteX93" fmla="*/ 238124 w 6057037"/>
              <a:gd name="connsiteY93" fmla="*/ 855662 h 6877049"/>
              <a:gd name="connsiteX94" fmla="*/ 278129 w 6057037"/>
              <a:gd name="connsiteY94" fmla="*/ 855662 h 6877049"/>
              <a:gd name="connsiteX95" fmla="*/ 295274 w 6057037"/>
              <a:gd name="connsiteY95" fmla="*/ 838517 h 6877049"/>
              <a:gd name="connsiteX96" fmla="*/ 289559 w 6057037"/>
              <a:gd name="connsiteY96" fmla="*/ 826134 h 6877049"/>
              <a:gd name="connsiteX97" fmla="*/ 293369 w 6057037"/>
              <a:gd name="connsiteY97" fmla="*/ 815657 h 6877049"/>
              <a:gd name="connsiteX98" fmla="*/ 277176 w 6057037"/>
              <a:gd name="connsiteY98" fmla="*/ 798512 h 6877049"/>
              <a:gd name="connsiteX99" fmla="*/ 238124 w 6057037"/>
              <a:gd name="connsiteY99" fmla="*/ 798512 h 6877049"/>
              <a:gd name="connsiteX100" fmla="*/ 394334 w 6057037"/>
              <a:gd name="connsiteY100" fmla="*/ 745172 h 6877049"/>
              <a:gd name="connsiteX101" fmla="*/ 403859 w 6057037"/>
              <a:gd name="connsiteY101" fmla="*/ 767079 h 6877049"/>
              <a:gd name="connsiteX102" fmla="*/ 384809 w 6057037"/>
              <a:gd name="connsiteY102" fmla="*/ 767079 h 6877049"/>
              <a:gd name="connsiteX103" fmla="*/ 388619 w 6057037"/>
              <a:gd name="connsiteY103" fmla="*/ 731837 h 6877049"/>
              <a:gd name="connsiteX104" fmla="*/ 361949 w 6057037"/>
              <a:gd name="connsiteY104" fmla="*/ 788987 h 6877049"/>
              <a:gd name="connsiteX105" fmla="*/ 376236 w 6057037"/>
              <a:gd name="connsiteY105" fmla="*/ 788987 h 6877049"/>
              <a:gd name="connsiteX106" fmla="*/ 380046 w 6057037"/>
              <a:gd name="connsiteY106" fmla="*/ 778509 h 6877049"/>
              <a:gd name="connsiteX107" fmla="*/ 409574 w 6057037"/>
              <a:gd name="connsiteY107" fmla="*/ 778509 h 6877049"/>
              <a:gd name="connsiteX108" fmla="*/ 414336 w 6057037"/>
              <a:gd name="connsiteY108" fmla="*/ 788987 h 6877049"/>
              <a:gd name="connsiteX109" fmla="*/ 428624 w 6057037"/>
              <a:gd name="connsiteY109" fmla="*/ 788987 h 6877049"/>
              <a:gd name="connsiteX110" fmla="*/ 401001 w 6057037"/>
              <a:gd name="connsiteY110" fmla="*/ 731837 h 6877049"/>
              <a:gd name="connsiteX111" fmla="*/ 384810 w 6057037"/>
              <a:gd name="connsiteY111" fmla="*/ 698500 h 6877049"/>
              <a:gd name="connsiteX112" fmla="*/ 409575 w 6057037"/>
              <a:gd name="connsiteY112" fmla="*/ 698500 h 6877049"/>
              <a:gd name="connsiteX113" fmla="*/ 415290 w 6057037"/>
              <a:gd name="connsiteY113" fmla="*/ 704215 h 6877049"/>
              <a:gd name="connsiteX114" fmla="*/ 409575 w 6057037"/>
              <a:gd name="connsiteY114" fmla="*/ 709930 h 6877049"/>
              <a:gd name="connsiteX115" fmla="*/ 384810 w 6057037"/>
              <a:gd name="connsiteY115" fmla="*/ 709930 h 6877049"/>
              <a:gd name="connsiteX116" fmla="*/ 384810 w 6057037"/>
              <a:gd name="connsiteY116" fmla="*/ 677545 h 6877049"/>
              <a:gd name="connsiteX117" fmla="*/ 408622 w 6057037"/>
              <a:gd name="connsiteY117" fmla="*/ 677545 h 6877049"/>
              <a:gd name="connsiteX118" fmla="*/ 413385 w 6057037"/>
              <a:gd name="connsiteY118" fmla="*/ 682308 h 6877049"/>
              <a:gd name="connsiteX119" fmla="*/ 408622 w 6057037"/>
              <a:gd name="connsiteY119" fmla="*/ 687070 h 6877049"/>
              <a:gd name="connsiteX120" fmla="*/ 384810 w 6057037"/>
              <a:gd name="connsiteY120" fmla="*/ 687070 h 6877049"/>
              <a:gd name="connsiteX121" fmla="*/ 371475 w 6057037"/>
              <a:gd name="connsiteY121" fmla="*/ 665163 h 6877049"/>
              <a:gd name="connsiteX122" fmla="*/ 371475 w 6057037"/>
              <a:gd name="connsiteY122" fmla="*/ 722313 h 6877049"/>
              <a:gd name="connsiteX123" fmla="*/ 411480 w 6057037"/>
              <a:gd name="connsiteY123" fmla="*/ 722313 h 6877049"/>
              <a:gd name="connsiteX124" fmla="*/ 428625 w 6057037"/>
              <a:gd name="connsiteY124" fmla="*/ 705168 h 6877049"/>
              <a:gd name="connsiteX125" fmla="*/ 423862 w 6057037"/>
              <a:gd name="connsiteY125" fmla="*/ 692785 h 6877049"/>
              <a:gd name="connsiteX126" fmla="*/ 426720 w 6057037"/>
              <a:gd name="connsiteY126" fmla="*/ 682308 h 6877049"/>
              <a:gd name="connsiteX127" fmla="*/ 410527 w 6057037"/>
              <a:gd name="connsiteY127" fmla="*/ 665163 h 6877049"/>
              <a:gd name="connsiteX128" fmla="*/ 371475 w 6057037"/>
              <a:gd name="connsiteY128" fmla="*/ 665163 h 6877049"/>
              <a:gd name="connsiteX129" fmla="*/ 395906 w 6057037"/>
              <a:gd name="connsiteY129" fmla="*/ 651618 h 6877049"/>
              <a:gd name="connsiteX130" fmla="*/ 556451 w 6057037"/>
              <a:gd name="connsiteY130" fmla="*/ 732650 h 6877049"/>
              <a:gd name="connsiteX131" fmla="*/ 580894 w 6057037"/>
              <a:gd name="connsiteY131" fmla="*/ 776411 h 6877049"/>
              <a:gd name="connsiteX132" fmla="*/ 580897 w 6057037"/>
              <a:gd name="connsiteY132" fmla="*/ 776421 h 6877049"/>
              <a:gd name="connsiteX133" fmla="*/ 556803 w 6057037"/>
              <a:gd name="connsiteY133" fmla="*/ 733457 h 6877049"/>
              <a:gd name="connsiteX134" fmla="*/ 396257 w 6057037"/>
              <a:gd name="connsiteY134" fmla="*/ 652463 h 6877049"/>
              <a:gd name="connsiteX135" fmla="*/ 570519 w 6057037"/>
              <a:gd name="connsiteY135" fmla="*/ 814450 h 6877049"/>
              <a:gd name="connsiteX136" fmla="*/ 570870 w 6057037"/>
              <a:gd name="connsiteY136" fmla="*/ 826722 h 6877049"/>
              <a:gd name="connsiteX137" fmla="*/ 570519 w 6057037"/>
              <a:gd name="connsiteY137" fmla="*/ 838994 h 6877049"/>
              <a:gd name="connsiteX138" fmla="*/ 396257 w 6057037"/>
              <a:gd name="connsiteY138" fmla="*/ 1000806 h 6877049"/>
              <a:gd name="connsiteX139" fmla="*/ 235711 w 6057037"/>
              <a:gd name="connsiteY139" fmla="*/ 919988 h 6877049"/>
              <a:gd name="connsiteX140" fmla="*/ 211203 w 6057037"/>
              <a:gd name="connsiteY140" fmla="*/ 876226 h 6877049"/>
              <a:gd name="connsiteX141" fmla="*/ 211136 w 6057037"/>
              <a:gd name="connsiteY141" fmla="*/ 875964 h 6877049"/>
              <a:gd name="connsiteX142" fmla="*/ 235360 w 6057037"/>
              <a:gd name="connsiteY142" fmla="*/ 919269 h 6877049"/>
              <a:gd name="connsiteX143" fmla="*/ 395906 w 6057037"/>
              <a:gd name="connsiteY143" fmla="*/ 1000125 h 6877049"/>
              <a:gd name="connsiteX144" fmla="*/ 221644 w 6057037"/>
              <a:gd name="connsiteY144" fmla="*/ 838237 h 6877049"/>
              <a:gd name="connsiteX145" fmla="*/ 221292 w 6057037"/>
              <a:gd name="connsiteY145" fmla="*/ 825959 h 6877049"/>
              <a:gd name="connsiteX146" fmla="*/ 221644 w 6057037"/>
              <a:gd name="connsiteY146" fmla="*/ 813682 h 6877049"/>
              <a:gd name="connsiteX147" fmla="*/ 395906 w 6057037"/>
              <a:gd name="connsiteY147" fmla="*/ 651618 h 6877049"/>
              <a:gd name="connsiteX148" fmla="*/ 395906 w 6057037"/>
              <a:gd name="connsiteY148" fmla="*/ 627063 h 6877049"/>
              <a:gd name="connsiteX149" fmla="*/ 196850 w 6057037"/>
              <a:gd name="connsiteY149" fmla="*/ 813682 h 6877049"/>
              <a:gd name="connsiteX150" fmla="*/ 197141 w 6057037"/>
              <a:gd name="connsiteY150" fmla="*/ 816580 h 6877049"/>
              <a:gd name="connsiteX151" fmla="*/ 196850 w 6057037"/>
              <a:gd name="connsiteY151" fmla="*/ 826722 h 6877049"/>
              <a:gd name="connsiteX152" fmla="*/ 197202 w 6057037"/>
              <a:gd name="connsiteY152" fmla="*/ 838994 h 6877049"/>
              <a:gd name="connsiteX153" fmla="*/ 396257 w 6057037"/>
              <a:gd name="connsiteY153" fmla="*/ 1025525 h 6877049"/>
              <a:gd name="connsiteX154" fmla="*/ 595313 w 6057037"/>
              <a:gd name="connsiteY154" fmla="*/ 838994 h 6877049"/>
              <a:gd name="connsiteX155" fmla="*/ 595023 w 6057037"/>
              <a:gd name="connsiteY155" fmla="*/ 836067 h 6877049"/>
              <a:gd name="connsiteX156" fmla="*/ 595313 w 6057037"/>
              <a:gd name="connsiteY156" fmla="*/ 825959 h 6877049"/>
              <a:gd name="connsiteX157" fmla="*/ 594961 w 6057037"/>
              <a:gd name="connsiteY157" fmla="*/ 813682 h 6877049"/>
              <a:gd name="connsiteX158" fmla="*/ 395906 w 6057037"/>
              <a:gd name="connsiteY158" fmla="*/ 627063 h 6877049"/>
              <a:gd name="connsiteX159" fmla="*/ 0 w 6057037"/>
              <a:gd name="connsiteY159" fmla="*/ 0 h 6877049"/>
              <a:gd name="connsiteX160" fmla="*/ 4723899 w 6057037"/>
              <a:gd name="connsiteY160" fmla="*/ 0 h 6877049"/>
              <a:gd name="connsiteX161" fmla="*/ 6057037 w 6057037"/>
              <a:gd name="connsiteY161" fmla="*/ 0 h 6877049"/>
              <a:gd name="connsiteX162" fmla="*/ 5820308 w 6057037"/>
              <a:gd name="connsiteY162" fmla="*/ 1220872 h 6877049"/>
              <a:gd name="connsiteX163" fmla="*/ 3753506 w 6057037"/>
              <a:gd name="connsiteY163" fmla="*/ 6877049 h 6877049"/>
              <a:gd name="connsiteX164" fmla="*/ 0 w 6057037"/>
              <a:gd name="connsiteY164" fmla="*/ 6877049 h 687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6057037" h="6877049">
                <a:moveTo>
                  <a:pt x="5798642" y="1332612"/>
                </a:moveTo>
                <a:lnTo>
                  <a:pt x="4723899" y="6875332"/>
                </a:lnTo>
                <a:lnTo>
                  <a:pt x="4723899" y="6877049"/>
                </a:lnTo>
                <a:lnTo>
                  <a:pt x="3772669" y="6877049"/>
                </a:lnTo>
                <a:close/>
                <a:moveTo>
                  <a:pt x="384809" y="944244"/>
                </a:moveTo>
                <a:cubicBezTo>
                  <a:pt x="384809" y="944244"/>
                  <a:pt x="384809" y="944244"/>
                  <a:pt x="405764" y="944244"/>
                </a:cubicBezTo>
                <a:cubicBezTo>
                  <a:pt x="408621" y="944244"/>
                  <a:pt x="410526" y="947102"/>
                  <a:pt x="410526" y="949959"/>
                </a:cubicBezTo>
                <a:cubicBezTo>
                  <a:pt x="410526" y="952817"/>
                  <a:pt x="407669" y="954722"/>
                  <a:pt x="405764" y="954722"/>
                </a:cubicBezTo>
                <a:cubicBezTo>
                  <a:pt x="405764" y="954722"/>
                  <a:pt x="405764" y="954722"/>
                  <a:pt x="384809" y="954722"/>
                </a:cubicBezTo>
                <a:cubicBezTo>
                  <a:pt x="384809" y="954722"/>
                  <a:pt x="384809" y="954722"/>
                  <a:pt x="384809" y="944244"/>
                </a:cubicBezTo>
                <a:close/>
                <a:moveTo>
                  <a:pt x="371474" y="931862"/>
                </a:moveTo>
                <a:cubicBezTo>
                  <a:pt x="371474" y="931862"/>
                  <a:pt x="371474" y="931862"/>
                  <a:pt x="371474" y="989012"/>
                </a:cubicBezTo>
                <a:lnTo>
                  <a:pt x="383856" y="989012"/>
                </a:lnTo>
                <a:cubicBezTo>
                  <a:pt x="383856" y="989012"/>
                  <a:pt x="383856" y="989012"/>
                  <a:pt x="383856" y="967104"/>
                </a:cubicBezTo>
                <a:cubicBezTo>
                  <a:pt x="383856" y="967104"/>
                  <a:pt x="383856" y="967104"/>
                  <a:pt x="398144" y="967104"/>
                </a:cubicBezTo>
                <a:cubicBezTo>
                  <a:pt x="398144" y="967104"/>
                  <a:pt x="398144" y="967104"/>
                  <a:pt x="413384" y="989012"/>
                </a:cubicBezTo>
                <a:cubicBezTo>
                  <a:pt x="413384" y="989012"/>
                  <a:pt x="413384" y="989012"/>
                  <a:pt x="428624" y="989012"/>
                </a:cubicBezTo>
                <a:cubicBezTo>
                  <a:pt x="428624" y="989012"/>
                  <a:pt x="428624" y="989012"/>
                  <a:pt x="412431" y="966152"/>
                </a:cubicBezTo>
                <a:cubicBezTo>
                  <a:pt x="419099" y="964247"/>
                  <a:pt x="422909" y="957579"/>
                  <a:pt x="422909" y="949959"/>
                </a:cubicBezTo>
                <a:cubicBezTo>
                  <a:pt x="422909" y="939482"/>
                  <a:pt x="416241" y="931862"/>
                  <a:pt x="406716" y="931862"/>
                </a:cubicBezTo>
                <a:cubicBezTo>
                  <a:pt x="406716" y="931862"/>
                  <a:pt x="406716" y="931862"/>
                  <a:pt x="371474" y="931862"/>
                </a:cubicBezTo>
                <a:close/>
                <a:moveTo>
                  <a:pt x="371474" y="865187"/>
                </a:moveTo>
                <a:lnTo>
                  <a:pt x="371474" y="922337"/>
                </a:lnTo>
                <a:lnTo>
                  <a:pt x="419099" y="922337"/>
                </a:lnTo>
                <a:lnTo>
                  <a:pt x="419099" y="910907"/>
                </a:lnTo>
                <a:lnTo>
                  <a:pt x="383856" y="910907"/>
                </a:lnTo>
                <a:lnTo>
                  <a:pt x="383856" y="898524"/>
                </a:lnTo>
                <a:lnTo>
                  <a:pt x="417194" y="898524"/>
                </a:lnTo>
                <a:lnTo>
                  <a:pt x="417194" y="887094"/>
                </a:lnTo>
                <a:lnTo>
                  <a:pt x="383856" y="887094"/>
                </a:lnTo>
                <a:lnTo>
                  <a:pt x="383856" y="876617"/>
                </a:lnTo>
                <a:lnTo>
                  <a:pt x="419099" y="876617"/>
                </a:lnTo>
                <a:lnTo>
                  <a:pt x="419099" y="865187"/>
                </a:lnTo>
                <a:close/>
                <a:moveTo>
                  <a:pt x="251459" y="831849"/>
                </a:moveTo>
                <a:cubicBezTo>
                  <a:pt x="251459" y="831849"/>
                  <a:pt x="251459" y="831849"/>
                  <a:pt x="276224" y="831849"/>
                </a:cubicBezTo>
                <a:cubicBezTo>
                  <a:pt x="279081" y="831849"/>
                  <a:pt x="281939" y="834707"/>
                  <a:pt x="281939" y="837564"/>
                </a:cubicBezTo>
                <a:cubicBezTo>
                  <a:pt x="281939" y="840422"/>
                  <a:pt x="279081" y="843279"/>
                  <a:pt x="276224" y="843279"/>
                </a:cubicBezTo>
                <a:cubicBezTo>
                  <a:pt x="276224" y="843279"/>
                  <a:pt x="276224" y="843279"/>
                  <a:pt x="251459" y="843279"/>
                </a:cubicBezTo>
                <a:close/>
                <a:moveTo>
                  <a:pt x="332422" y="811847"/>
                </a:moveTo>
                <a:lnTo>
                  <a:pt x="341947" y="833755"/>
                </a:lnTo>
                <a:lnTo>
                  <a:pt x="322897" y="833755"/>
                </a:lnTo>
                <a:close/>
                <a:moveTo>
                  <a:pt x="518160" y="810895"/>
                </a:moveTo>
                <a:cubicBezTo>
                  <a:pt x="518160" y="810895"/>
                  <a:pt x="518160" y="810895"/>
                  <a:pt x="538161" y="810895"/>
                </a:cubicBezTo>
                <a:cubicBezTo>
                  <a:pt x="541972" y="810895"/>
                  <a:pt x="543877" y="812800"/>
                  <a:pt x="543877" y="815658"/>
                </a:cubicBezTo>
                <a:cubicBezTo>
                  <a:pt x="543877" y="818515"/>
                  <a:pt x="541020" y="821373"/>
                  <a:pt x="538161" y="821373"/>
                </a:cubicBezTo>
                <a:cubicBezTo>
                  <a:pt x="538161" y="821373"/>
                  <a:pt x="538161" y="821373"/>
                  <a:pt x="518160" y="821373"/>
                </a:cubicBezTo>
                <a:cubicBezTo>
                  <a:pt x="518160" y="821373"/>
                  <a:pt x="518160" y="821373"/>
                  <a:pt x="518160" y="810895"/>
                </a:cubicBezTo>
                <a:close/>
                <a:moveTo>
                  <a:pt x="251459" y="810894"/>
                </a:moveTo>
                <a:cubicBezTo>
                  <a:pt x="251459" y="810894"/>
                  <a:pt x="251459" y="810894"/>
                  <a:pt x="275271" y="810894"/>
                </a:cubicBezTo>
                <a:cubicBezTo>
                  <a:pt x="278129" y="810894"/>
                  <a:pt x="280034" y="812799"/>
                  <a:pt x="280034" y="815657"/>
                </a:cubicBezTo>
                <a:cubicBezTo>
                  <a:pt x="280034" y="818514"/>
                  <a:pt x="278129" y="820419"/>
                  <a:pt x="275271" y="820419"/>
                </a:cubicBezTo>
                <a:cubicBezTo>
                  <a:pt x="275271" y="820419"/>
                  <a:pt x="275271" y="820419"/>
                  <a:pt x="251459" y="820419"/>
                </a:cubicBezTo>
                <a:close/>
                <a:moveTo>
                  <a:pt x="361950" y="798513"/>
                </a:moveTo>
                <a:lnTo>
                  <a:pt x="388620" y="835660"/>
                </a:lnTo>
                <a:lnTo>
                  <a:pt x="388620" y="855663"/>
                </a:lnTo>
                <a:lnTo>
                  <a:pt x="401955" y="855663"/>
                </a:lnTo>
                <a:lnTo>
                  <a:pt x="401955" y="835660"/>
                </a:lnTo>
                <a:lnTo>
                  <a:pt x="428625" y="798513"/>
                </a:lnTo>
                <a:lnTo>
                  <a:pt x="413385" y="798513"/>
                </a:lnTo>
                <a:lnTo>
                  <a:pt x="396240" y="823278"/>
                </a:lnTo>
                <a:lnTo>
                  <a:pt x="377190" y="798513"/>
                </a:lnTo>
                <a:close/>
                <a:moveTo>
                  <a:pt x="438150" y="798513"/>
                </a:moveTo>
                <a:lnTo>
                  <a:pt x="438150" y="855663"/>
                </a:lnTo>
                <a:lnTo>
                  <a:pt x="485775" y="855663"/>
                </a:lnTo>
                <a:lnTo>
                  <a:pt x="485775" y="844233"/>
                </a:lnTo>
                <a:lnTo>
                  <a:pt x="450532" y="844233"/>
                </a:lnTo>
                <a:lnTo>
                  <a:pt x="450532" y="831850"/>
                </a:lnTo>
                <a:lnTo>
                  <a:pt x="485775" y="831850"/>
                </a:lnTo>
                <a:lnTo>
                  <a:pt x="485775" y="820420"/>
                </a:lnTo>
                <a:lnTo>
                  <a:pt x="450532" y="820420"/>
                </a:lnTo>
                <a:lnTo>
                  <a:pt x="450532" y="809943"/>
                </a:lnTo>
                <a:lnTo>
                  <a:pt x="485775" y="809943"/>
                </a:lnTo>
                <a:lnTo>
                  <a:pt x="485775" y="798513"/>
                </a:lnTo>
                <a:close/>
                <a:moveTo>
                  <a:pt x="504825" y="798513"/>
                </a:moveTo>
                <a:cubicBezTo>
                  <a:pt x="504825" y="798513"/>
                  <a:pt x="504825" y="798513"/>
                  <a:pt x="504825" y="855663"/>
                </a:cubicBezTo>
                <a:cubicBezTo>
                  <a:pt x="504825" y="855663"/>
                  <a:pt x="504825" y="855663"/>
                  <a:pt x="518160" y="855663"/>
                </a:cubicBezTo>
                <a:cubicBezTo>
                  <a:pt x="518160" y="855663"/>
                  <a:pt x="518160" y="855663"/>
                  <a:pt x="518160" y="833755"/>
                </a:cubicBezTo>
                <a:cubicBezTo>
                  <a:pt x="518160" y="833755"/>
                  <a:pt x="518160" y="833755"/>
                  <a:pt x="528637" y="833755"/>
                </a:cubicBezTo>
                <a:lnTo>
                  <a:pt x="545782" y="855663"/>
                </a:lnTo>
                <a:cubicBezTo>
                  <a:pt x="545782" y="855663"/>
                  <a:pt x="545782" y="855663"/>
                  <a:pt x="561975" y="855663"/>
                </a:cubicBezTo>
                <a:cubicBezTo>
                  <a:pt x="561975" y="855663"/>
                  <a:pt x="561975" y="855663"/>
                  <a:pt x="544829" y="833755"/>
                </a:cubicBezTo>
                <a:cubicBezTo>
                  <a:pt x="552450" y="830898"/>
                  <a:pt x="558164" y="824230"/>
                  <a:pt x="558164" y="816610"/>
                </a:cubicBezTo>
                <a:cubicBezTo>
                  <a:pt x="558164" y="806133"/>
                  <a:pt x="549592" y="798513"/>
                  <a:pt x="540067" y="798513"/>
                </a:cubicBezTo>
                <a:cubicBezTo>
                  <a:pt x="540067" y="798513"/>
                  <a:pt x="540067" y="798513"/>
                  <a:pt x="504825" y="798513"/>
                </a:cubicBezTo>
                <a:close/>
                <a:moveTo>
                  <a:pt x="326707" y="798512"/>
                </a:moveTo>
                <a:lnTo>
                  <a:pt x="300037" y="855662"/>
                </a:lnTo>
                <a:lnTo>
                  <a:pt x="314324" y="855662"/>
                </a:lnTo>
                <a:lnTo>
                  <a:pt x="318134" y="845184"/>
                </a:lnTo>
                <a:lnTo>
                  <a:pt x="347662" y="845184"/>
                </a:lnTo>
                <a:lnTo>
                  <a:pt x="352424" y="855662"/>
                </a:lnTo>
                <a:lnTo>
                  <a:pt x="366712" y="855662"/>
                </a:lnTo>
                <a:lnTo>
                  <a:pt x="339089" y="798512"/>
                </a:lnTo>
                <a:close/>
                <a:moveTo>
                  <a:pt x="238124" y="798512"/>
                </a:moveTo>
                <a:cubicBezTo>
                  <a:pt x="238124" y="798512"/>
                  <a:pt x="238124" y="798512"/>
                  <a:pt x="238124" y="855662"/>
                </a:cubicBezTo>
                <a:cubicBezTo>
                  <a:pt x="238124" y="855662"/>
                  <a:pt x="238124" y="855662"/>
                  <a:pt x="278129" y="855662"/>
                </a:cubicBezTo>
                <a:cubicBezTo>
                  <a:pt x="287654" y="855662"/>
                  <a:pt x="295274" y="848042"/>
                  <a:pt x="295274" y="838517"/>
                </a:cubicBezTo>
                <a:cubicBezTo>
                  <a:pt x="295274" y="833754"/>
                  <a:pt x="293369" y="828992"/>
                  <a:pt x="289559" y="826134"/>
                </a:cubicBezTo>
                <a:cubicBezTo>
                  <a:pt x="292416" y="823277"/>
                  <a:pt x="294321" y="819467"/>
                  <a:pt x="293369" y="815657"/>
                </a:cubicBezTo>
                <a:cubicBezTo>
                  <a:pt x="293369" y="806132"/>
                  <a:pt x="286701" y="798512"/>
                  <a:pt x="277176" y="798512"/>
                </a:cubicBezTo>
                <a:cubicBezTo>
                  <a:pt x="277176" y="798512"/>
                  <a:pt x="277176" y="798512"/>
                  <a:pt x="238124" y="798512"/>
                </a:cubicBezTo>
                <a:close/>
                <a:moveTo>
                  <a:pt x="394334" y="745172"/>
                </a:moveTo>
                <a:lnTo>
                  <a:pt x="403859" y="767079"/>
                </a:lnTo>
                <a:lnTo>
                  <a:pt x="384809" y="767079"/>
                </a:lnTo>
                <a:close/>
                <a:moveTo>
                  <a:pt x="388619" y="731837"/>
                </a:moveTo>
                <a:lnTo>
                  <a:pt x="361949" y="788987"/>
                </a:lnTo>
                <a:lnTo>
                  <a:pt x="376236" y="788987"/>
                </a:lnTo>
                <a:lnTo>
                  <a:pt x="380046" y="778509"/>
                </a:lnTo>
                <a:lnTo>
                  <a:pt x="409574" y="778509"/>
                </a:lnTo>
                <a:lnTo>
                  <a:pt x="414336" y="788987"/>
                </a:lnTo>
                <a:lnTo>
                  <a:pt x="428624" y="788987"/>
                </a:lnTo>
                <a:lnTo>
                  <a:pt x="401001" y="731837"/>
                </a:lnTo>
                <a:close/>
                <a:moveTo>
                  <a:pt x="384810" y="698500"/>
                </a:moveTo>
                <a:cubicBezTo>
                  <a:pt x="384810" y="698500"/>
                  <a:pt x="384810" y="698500"/>
                  <a:pt x="409575" y="698500"/>
                </a:cubicBezTo>
                <a:cubicBezTo>
                  <a:pt x="413385" y="698500"/>
                  <a:pt x="415290" y="701358"/>
                  <a:pt x="415290" y="704215"/>
                </a:cubicBezTo>
                <a:cubicBezTo>
                  <a:pt x="415290" y="707073"/>
                  <a:pt x="412432" y="709930"/>
                  <a:pt x="409575" y="709930"/>
                </a:cubicBezTo>
                <a:cubicBezTo>
                  <a:pt x="409575" y="709930"/>
                  <a:pt x="409575" y="709930"/>
                  <a:pt x="384810" y="709930"/>
                </a:cubicBezTo>
                <a:close/>
                <a:moveTo>
                  <a:pt x="384810" y="677545"/>
                </a:moveTo>
                <a:cubicBezTo>
                  <a:pt x="384810" y="677545"/>
                  <a:pt x="384810" y="677545"/>
                  <a:pt x="408622" y="677545"/>
                </a:cubicBezTo>
                <a:cubicBezTo>
                  <a:pt x="411480" y="677545"/>
                  <a:pt x="413385" y="679450"/>
                  <a:pt x="413385" y="682308"/>
                </a:cubicBezTo>
                <a:cubicBezTo>
                  <a:pt x="413385" y="685165"/>
                  <a:pt x="411480" y="687070"/>
                  <a:pt x="408622" y="687070"/>
                </a:cubicBezTo>
                <a:cubicBezTo>
                  <a:pt x="408622" y="687070"/>
                  <a:pt x="408622" y="687070"/>
                  <a:pt x="384810" y="687070"/>
                </a:cubicBezTo>
                <a:close/>
                <a:moveTo>
                  <a:pt x="371475" y="665163"/>
                </a:moveTo>
                <a:cubicBezTo>
                  <a:pt x="371475" y="665163"/>
                  <a:pt x="371475" y="665163"/>
                  <a:pt x="371475" y="722313"/>
                </a:cubicBezTo>
                <a:cubicBezTo>
                  <a:pt x="371475" y="722313"/>
                  <a:pt x="371475" y="722313"/>
                  <a:pt x="411480" y="722313"/>
                </a:cubicBezTo>
                <a:cubicBezTo>
                  <a:pt x="421005" y="722313"/>
                  <a:pt x="428625" y="714693"/>
                  <a:pt x="428625" y="705168"/>
                </a:cubicBezTo>
                <a:cubicBezTo>
                  <a:pt x="428625" y="700405"/>
                  <a:pt x="426720" y="695643"/>
                  <a:pt x="423862" y="692785"/>
                </a:cubicBezTo>
                <a:cubicBezTo>
                  <a:pt x="425767" y="689928"/>
                  <a:pt x="427672" y="686118"/>
                  <a:pt x="426720" y="682308"/>
                </a:cubicBezTo>
                <a:cubicBezTo>
                  <a:pt x="426720" y="672783"/>
                  <a:pt x="420052" y="665163"/>
                  <a:pt x="410527" y="665163"/>
                </a:cubicBezTo>
                <a:cubicBezTo>
                  <a:pt x="410527" y="665163"/>
                  <a:pt x="410527" y="665163"/>
                  <a:pt x="371475" y="665163"/>
                </a:cubicBezTo>
                <a:close/>
                <a:moveTo>
                  <a:pt x="395906" y="651618"/>
                </a:moveTo>
                <a:cubicBezTo>
                  <a:pt x="461671" y="651618"/>
                  <a:pt x="520052" y="683540"/>
                  <a:pt x="556451" y="732650"/>
                </a:cubicBezTo>
                <a:cubicBezTo>
                  <a:pt x="566299" y="746068"/>
                  <a:pt x="574563" y="760757"/>
                  <a:pt x="580894" y="776411"/>
                </a:cubicBezTo>
                <a:lnTo>
                  <a:pt x="580897" y="776421"/>
                </a:lnTo>
                <a:lnTo>
                  <a:pt x="556803" y="733457"/>
                </a:lnTo>
                <a:cubicBezTo>
                  <a:pt x="520403" y="684370"/>
                  <a:pt x="462023" y="652463"/>
                  <a:pt x="396257" y="652463"/>
                </a:cubicBezTo>
                <a:cubicBezTo>
                  <a:pt x="488400" y="652463"/>
                  <a:pt x="564188" y="723990"/>
                  <a:pt x="570519" y="814450"/>
                </a:cubicBezTo>
                <a:cubicBezTo>
                  <a:pt x="570695" y="818483"/>
                  <a:pt x="570870" y="822515"/>
                  <a:pt x="570870" y="826722"/>
                </a:cubicBezTo>
                <a:cubicBezTo>
                  <a:pt x="570870" y="830754"/>
                  <a:pt x="570695" y="834962"/>
                  <a:pt x="570519" y="838994"/>
                </a:cubicBezTo>
                <a:cubicBezTo>
                  <a:pt x="564188" y="929279"/>
                  <a:pt x="488400" y="1000806"/>
                  <a:pt x="396257" y="1000806"/>
                </a:cubicBezTo>
                <a:cubicBezTo>
                  <a:pt x="330316" y="1000806"/>
                  <a:pt x="271935" y="969075"/>
                  <a:pt x="235711" y="919988"/>
                </a:cubicBezTo>
                <a:cubicBezTo>
                  <a:pt x="225776" y="906576"/>
                  <a:pt x="217512" y="891894"/>
                  <a:pt x="211203" y="876226"/>
                </a:cubicBezTo>
                <a:lnTo>
                  <a:pt x="211136" y="875964"/>
                </a:lnTo>
                <a:lnTo>
                  <a:pt x="235360" y="919269"/>
                </a:lnTo>
                <a:cubicBezTo>
                  <a:pt x="271760" y="968379"/>
                  <a:pt x="329964" y="1000125"/>
                  <a:pt x="395906" y="1000125"/>
                </a:cubicBezTo>
                <a:cubicBezTo>
                  <a:pt x="303763" y="1000125"/>
                  <a:pt x="227974" y="928565"/>
                  <a:pt x="221644" y="838237"/>
                </a:cubicBezTo>
                <a:cubicBezTo>
                  <a:pt x="221292" y="834203"/>
                  <a:pt x="221292" y="829993"/>
                  <a:pt x="221292" y="825959"/>
                </a:cubicBezTo>
                <a:cubicBezTo>
                  <a:pt x="221292" y="821750"/>
                  <a:pt x="221292" y="817716"/>
                  <a:pt x="221644" y="813682"/>
                </a:cubicBezTo>
                <a:cubicBezTo>
                  <a:pt x="227974" y="723179"/>
                  <a:pt x="303763" y="651618"/>
                  <a:pt x="395906" y="651618"/>
                </a:cubicBezTo>
                <a:close/>
                <a:moveTo>
                  <a:pt x="395906" y="627063"/>
                </a:moveTo>
                <a:cubicBezTo>
                  <a:pt x="289872" y="627063"/>
                  <a:pt x="203356" y="709498"/>
                  <a:pt x="196850" y="813682"/>
                </a:cubicBezTo>
                <a:lnTo>
                  <a:pt x="197141" y="816580"/>
                </a:lnTo>
                <a:lnTo>
                  <a:pt x="196850" y="826722"/>
                </a:lnTo>
                <a:cubicBezTo>
                  <a:pt x="196850" y="830754"/>
                  <a:pt x="197026" y="834962"/>
                  <a:pt x="197202" y="838994"/>
                </a:cubicBezTo>
                <a:cubicBezTo>
                  <a:pt x="203708" y="943129"/>
                  <a:pt x="290223" y="1025525"/>
                  <a:pt x="396257" y="1025525"/>
                </a:cubicBezTo>
                <a:cubicBezTo>
                  <a:pt x="502291" y="1025525"/>
                  <a:pt x="588807" y="943129"/>
                  <a:pt x="595313" y="838994"/>
                </a:cubicBezTo>
                <a:lnTo>
                  <a:pt x="595023" y="836067"/>
                </a:lnTo>
                <a:lnTo>
                  <a:pt x="595313" y="825959"/>
                </a:lnTo>
                <a:cubicBezTo>
                  <a:pt x="595313" y="821750"/>
                  <a:pt x="595137" y="817716"/>
                  <a:pt x="594961" y="813682"/>
                </a:cubicBezTo>
                <a:cubicBezTo>
                  <a:pt x="588455" y="709498"/>
                  <a:pt x="501940" y="627063"/>
                  <a:pt x="395906" y="627063"/>
                </a:cubicBezTo>
                <a:close/>
                <a:moveTo>
                  <a:pt x="0" y="0"/>
                </a:moveTo>
                <a:lnTo>
                  <a:pt x="4723899" y="0"/>
                </a:lnTo>
                <a:lnTo>
                  <a:pt x="6057037" y="0"/>
                </a:lnTo>
                <a:lnTo>
                  <a:pt x="5820308" y="1220872"/>
                </a:lnTo>
                <a:lnTo>
                  <a:pt x="3753506" y="6877049"/>
                </a:lnTo>
                <a:lnTo>
                  <a:pt x="0" y="6877049"/>
                </a:lnTo>
                <a:close/>
              </a:path>
            </a:pathLst>
          </a:custGeom>
          <a:gradFill>
            <a:gsLst>
              <a:gs pos="0">
                <a:srgbClr val="443247"/>
              </a:gs>
              <a:gs pos="54000">
                <a:srgbClr val="443247">
                  <a:alpha val="92000"/>
                </a:srgbClr>
              </a:gs>
              <a:gs pos="100000">
                <a:srgbClr val="443247">
                  <a:alpha val="70000"/>
                </a:srgbClr>
              </a:gs>
            </a:gsLst>
            <a:lin ang="0" scaled="1"/>
          </a:gra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4" y="1138299"/>
            <a:ext cx="475560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4" y="181938"/>
            <a:ext cx="47556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/>
          </p:nvPr>
        </p:nvSpPr>
        <p:spPr bwMode="gray">
          <a:xfrm>
            <a:off x="980284" y="1732750"/>
            <a:ext cx="4755600" cy="47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69919" indent="-269919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2pPr>
            <a:lvl3pPr marL="539838" indent="-269919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3pPr>
            <a:lvl4pPr marL="809757" indent="-269919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4pPr>
            <a:lvl5pPr marL="1079676" indent="-269919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5pPr>
            <a:lvl6pPr marL="1079676" indent="-269919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6pPr>
            <a:lvl7pPr marL="1079676" indent="-269919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7pPr>
            <a:lvl8pPr marL="1079676" indent="-269919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8pPr>
            <a:lvl9pPr marL="1079676" indent="-269919">
              <a:buFontTx/>
              <a:buBlip>
                <a:blip r:embed="rId2"/>
              </a:buBlip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6DD9925-6D82-4F8D-9AA1-325446C32797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Antoine Bernet // Crop Science PL-CZ-SK-BAL CG THM // 12 OCT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 flipV="1">
            <a:off x="3767858" y="-20325"/>
            <a:ext cx="2507007" cy="68796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52689F14-181B-49FF-8877-2B78A05E1F1B}"/>
              </a:ext>
            </a:extLst>
          </p:cNvPr>
          <p:cNvGrpSpPr/>
          <p:nvPr userDrawn="1"/>
        </p:nvGrpSpPr>
        <p:grpSpPr>
          <a:xfrm>
            <a:off x="196853" y="617538"/>
            <a:ext cx="398463" cy="398462"/>
            <a:chOff x="196850" y="617538"/>
            <a:chExt cx="398463" cy="398462"/>
          </a:xfrm>
        </p:grpSpPr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72251520-3887-4D0F-9773-BF8ABAEA45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17538"/>
              <a:ext cx="398463" cy="373062"/>
            </a:xfrm>
            <a:custGeom>
              <a:avLst/>
              <a:gdLst>
                <a:gd name="T0" fmla="*/ 2264 w 2266"/>
                <a:gd name="T1" fmla="*/ 1064 h 2127"/>
                <a:gd name="T2" fmla="*/ 1132 w 2266"/>
                <a:gd name="T3" fmla="*/ 0 h 2127"/>
                <a:gd name="T4" fmla="*/ 0 w 2266"/>
                <a:gd name="T5" fmla="*/ 1064 h 2127"/>
                <a:gd name="T6" fmla="*/ 7 w 2266"/>
                <a:gd name="T7" fmla="*/ 1134 h 2127"/>
                <a:gd name="T8" fmla="*/ 219 w 2266"/>
                <a:gd name="T9" fmla="*/ 1666 h 2127"/>
                <a:gd name="T10" fmla="*/ 1132 w 2266"/>
                <a:gd name="T11" fmla="*/ 2127 h 2127"/>
                <a:gd name="T12" fmla="*/ 141 w 2266"/>
                <a:gd name="T13" fmla="*/ 1204 h 2127"/>
                <a:gd name="T14" fmla="*/ 139 w 2266"/>
                <a:gd name="T15" fmla="*/ 1134 h 2127"/>
                <a:gd name="T16" fmla="*/ 141 w 2266"/>
                <a:gd name="T17" fmla="*/ 1064 h 2127"/>
                <a:gd name="T18" fmla="*/ 1132 w 2266"/>
                <a:gd name="T19" fmla="*/ 140 h 2127"/>
                <a:gd name="T20" fmla="*/ 2045 w 2266"/>
                <a:gd name="T21" fmla="*/ 602 h 2127"/>
                <a:gd name="T22" fmla="*/ 2257 w 2266"/>
                <a:gd name="T23" fmla="*/ 1134 h 2127"/>
                <a:gd name="T24" fmla="*/ 2264 w 2266"/>
                <a:gd name="T25" fmla="*/ 1204 h 2127"/>
                <a:gd name="T26" fmla="*/ 2266 w 2266"/>
                <a:gd name="T27" fmla="*/ 1134 h 2127"/>
                <a:gd name="T28" fmla="*/ 2264 w 2266"/>
                <a:gd name="T29" fmla="*/ 1064 h 2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7">
                  <a:moveTo>
                    <a:pt x="2264" y="1064"/>
                  </a:moveTo>
                  <a:cubicBezTo>
                    <a:pt x="2227" y="470"/>
                    <a:pt x="1735" y="0"/>
                    <a:pt x="1132" y="0"/>
                  </a:cubicBezTo>
                  <a:cubicBezTo>
                    <a:pt x="529" y="0"/>
                    <a:pt x="37" y="470"/>
                    <a:pt x="0" y="1064"/>
                  </a:cubicBezTo>
                  <a:cubicBezTo>
                    <a:pt x="2" y="1087"/>
                    <a:pt x="4" y="1111"/>
                    <a:pt x="7" y="1134"/>
                  </a:cubicBezTo>
                  <a:cubicBezTo>
                    <a:pt x="31" y="1332"/>
                    <a:pt x="107" y="1513"/>
                    <a:pt x="219" y="1666"/>
                  </a:cubicBezTo>
                  <a:cubicBezTo>
                    <a:pt x="426" y="1946"/>
                    <a:pt x="757" y="2127"/>
                    <a:pt x="1132" y="2127"/>
                  </a:cubicBezTo>
                  <a:cubicBezTo>
                    <a:pt x="608" y="2127"/>
                    <a:pt x="177" y="1719"/>
                    <a:pt x="141" y="1204"/>
                  </a:cubicBezTo>
                  <a:cubicBezTo>
                    <a:pt x="139" y="1181"/>
                    <a:pt x="139" y="1157"/>
                    <a:pt x="139" y="1134"/>
                  </a:cubicBezTo>
                  <a:cubicBezTo>
                    <a:pt x="139" y="1110"/>
                    <a:pt x="139" y="1087"/>
                    <a:pt x="141" y="1064"/>
                  </a:cubicBezTo>
                  <a:cubicBezTo>
                    <a:pt x="177" y="548"/>
                    <a:pt x="608" y="140"/>
                    <a:pt x="1132" y="140"/>
                  </a:cubicBezTo>
                  <a:cubicBezTo>
                    <a:pt x="1506" y="140"/>
                    <a:pt x="1838" y="322"/>
                    <a:pt x="2045" y="602"/>
                  </a:cubicBezTo>
                  <a:cubicBezTo>
                    <a:pt x="2157" y="755"/>
                    <a:pt x="2233" y="937"/>
                    <a:pt x="2257" y="1134"/>
                  </a:cubicBezTo>
                  <a:cubicBezTo>
                    <a:pt x="2260" y="1157"/>
                    <a:pt x="2262" y="1181"/>
                    <a:pt x="2264" y="1204"/>
                  </a:cubicBezTo>
                  <a:cubicBezTo>
                    <a:pt x="2265" y="1181"/>
                    <a:pt x="2266" y="1157"/>
                    <a:pt x="2266" y="1134"/>
                  </a:cubicBezTo>
                  <a:cubicBezTo>
                    <a:pt x="2266" y="1110"/>
                    <a:pt x="2265" y="1087"/>
                    <a:pt x="2264" y="1064"/>
                  </a:cubicBezTo>
                </a:path>
              </a:pathLst>
            </a:custGeom>
            <a:solidFill>
              <a:srgbClr val="89D3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Freeform 15">
              <a:extLst>
                <a:ext uri="{FF2B5EF4-FFF2-40B4-BE49-F238E27FC236}">
                  <a16:creationId xmlns:a16="http://schemas.microsoft.com/office/drawing/2014/main" id="{BD4EF4E4-09A0-4828-AC2A-7FEF9F2E59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50" y="642938"/>
              <a:ext cx="398463" cy="373062"/>
            </a:xfrm>
            <a:custGeom>
              <a:avLst/>
              <a:gdLst>
                <a:gd name="T0" fmla="*/ 2 w 2266"/>
                <a:gd name="T1" fmla="*/ 1064 h 2128"/>
                <a:gd name="T2" fmla="*/ 1134 w 2266"/>
                <a:gd name="T3" fmla="*/ 2128 h 2128"/>
                <a:gd name="T4" fmla="*/ 2266 w 2266"/>
                <a:gd name="T5" fmla="*/ 1064 h 2128"/>
                <a:gd name="T6" fmla="*/ 2259 w 2266"/>
                <a:gd name="T7" fmla="*/ 993 h 2128"/>
                <a:gd name="T8" fmla="*/ 2047 w 2266"/>
                <a:gd name="T9" fmla="*/ 462 h 2128"/>
                <a:gd name="T10" fmla="*/ 1134 w 2266"/>
                <a:gd name="T11" fmla="*/ 0 h 2128"/>
                <a:gd name="T12" fmla="*/ 2125 w 2266"/>
                <a:gd name="T13" fmla="*/ 924 h 2128"/>
                <a:gd name="T14" fmla="*/ 2127 w 2266"/>
                <a:gd name="T15" fmla="*/ 994 h 2128"/>
                <a:gd name="T16" fmla="*/ 2125 w 2266"/>
                <a:gd name="T17" fmla="*/ 1064 h 2128"/>
                <a:gd name="T18" fmla="*/ 1134 w 2266"/>
                <a:gd name="T19" fmla="*/ 1987 h 2128"/>
                <a:gd name="T20" fmla="*/ 221 w 2266"/>
                <a:gd name="T21" fmla="*/ 1526 h 2128"/>
                <a:gd name="T22" fmla="*/ 9 w 2266"/>
                <a:gd name="T23" fmla="*/ 993 h 2128"/>
                <a:gd name="T24" fmla="*/ 2 w 2266"/>
                <a:gd name="T25" fmla="*/ 924 h 2128"/>
                <a:gd name="T26" fmla="*/ 0 w 2266"/>
                <a:gd name="T27" fmla="*/ 994 h 2128"/>
                <a:gd name="T28" fmla="*/ 2 w 2266"/>
                <a:gd name="T29" fmla="*/ 1064 h 2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66" h="2128">
                  <a:moveTo>
                    <a:pt x="2" y="1064"/>
                  </a:moveTo>
                  <a:cubicBezTo>
                    <a:pt x="39" y="1658"/>
                    <a:pt x="531" y="2128"/>
                    <a:pt x="1134" y="2128"/>
                  </a:cubicBezTo>
                  <a:cubicBezTo>
                    <a:pt x="1737" y="2128"/>
                    <a:pt x="2229" y="1658"/>
                    <a:pt x="2266" y="1064"/>
                  </a:cubicBezTo>
                  <a:cubicBezTo>
                    <a:pt x="2264" y="1040"/>
                    <a:pt x="2262" y="1017"/>
                    <a:pt x="2259" y="993"/>
                  </a:cubicBezTo>
                  <a:cubicBezTo>
                    <a:pt x="2235" y="796"/>
                    <a:pt x="2159" y="614"/>
                    <a:pt x="2047" y="462"/>
                  </a:cubicBezTo>
                  <a:cubicBezTo>
                    <a:pt x="1840" y="182"/>
                    <a:pt x="1508" y="0"/>
                    <a:pt x="1134" y="0"/>
                  </a:cubicBezTo>
                  <a:cubicBezTo>
                    <a:pt x="1658" y="0"/>
                    <a:pt x="2089" y="408"/>
                    <a:pt x="2125" y="924"/>
                  </a:cubicBezTo>
                  <a:cubicBezTo>
                    <a:pt x="2126" y="947"/>
                    <a:pt x="2127" y="970"/>
                    <a:pt x="2127" y="994"/>
                  </a:cubicBezTo>
                  <a:cubicBezTo>
                    <a:pt x="2127" y="1017"/>
                    <a:pt x="2126" y="1041"/>
                    <a:pt x="2125" y="1064"/>
                  </a:cubicBezTo>
                  <a:cubicBezTo>
                    <a:pt x="2089" y="1579"/>
                    <a:pt x="1658" y="1987"/>
                    <a:pt x="1134" y="1987"/>
                  </a:cubicBezTo>
                  <a:cubicBezTo>
                    <a:pt x="759" y="1987"/>
                    <a:pt x="427" y="1806"/>
                    <a:pt x="221" y="1526"/>
                  </a:cubicBezTo>
                  <a:cubicBezTo>
                    <a:pt x="108" y="1373"/>
                    <a:pt x="33" y="1191"/>
                    <a:pt x="9" y="993"/>
                  </a:cubicBezTo>
                  <a:cubicBezTo>
                    <a:pt x="6" y="970"/>
                    <a:pt x="4" y="947"/>
                    <a:pt x="2" y="924"/>
                  </a:cubicBezTo>
                  <a:cubicBezTo>
                    <a:pt x="1" y="947"/>
                    <a:pt x="0" y="970"/>
                    <a:pt x="0" y="994"/>
                  </a:cubicBezTo>
                  <a:cubicBezTo>
                    <a:pt x="0" y="1017"/>
                    <a:pt x="1" y="1041"/>
                    <a:pt x="2" y="1064"/>
                  </a:cubicBezTo>
                </a:path>
              </a:pathLst>
            </a:custGeom>
            <a:solidFill>
              <a:srgbClr val="00B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4E7D0E6-6BCC-4643-9135-0D949349BA0B}"/>
                </a:ext>
              </a:extLst>
            </p:cNvPr>
            <p:cNvSpPr/>
            <p:nvPr userDrawn="1"/>
          </p:nvSpPr>
          <p:spPr>
            <a:xfrm>
              <a:off x="364331" y="64849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9531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9531 w 66675"/>
                <a:gd name="connsiteY23" fmla="*/ 34766 h 66675"/>
                <a:gd name="connsiteX24" fmla="*/ 59531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9054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9531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9531" y="34766"/>
                  </a:cubicBezTo>
                  <a:lnTo>
                    <a:pt x="59531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F29973EA-FA6A-4AD0-9DE8-F1AC7D4B7BBC}"/>
                </a:ext>
              </a:extLst>
            </p:cNvPr>
            <p:cNvSpPr/>
            <p:nvPr userDrawn="1"/>
          </p:nvSpPr>
          <p:spPr>
            <a:xfrm>
              <a:off x="354806" y="781844"/>
              <a:ext cx="76200" cy="66675"/>
            </a:xfrm>
            <a:custGeom>
              <a:avLst/>
              <a:gdLst>
                <a:gd name="connsiteX0" fmla="*/ 58579 w 76200"/>
                <a:gd name="connsiteY0" fmla="*/ 7144 h 66675"/>
                <a:gd name="connsiteX1" fmla="*/ 73819 w 76200"/>
                <a:gd name="connsiteY1" fmla="*/ 7144 h 66675"/>
                <a:gd name="connsiteX2" fmla="*/ 47149 w 76200"/>
                <a:gd name="connsiteY2" fmla="*/ 44291 h 66675"/>
                <a:gd name="connsiteX3" fmla="*/ 47149 w 76200"/>
                <a:gd name="connsiteY3" fmla="*/ 64294 h 66675"/>
                <a:gd name="connsiteX4" fmla="*/ 33814 w 76200"/>
                <a:gd name="connsiteY4" fmla="*/ 64294 h 66675"/>
                <a:gd name="connsiteX5" fmla="*/ 33814 w 76200"/>
                <a:gd name="connsiteY5" fmla="*/ 44291 h 66675"/>
                <a:gd name="connsiteX6" fmla="*/ 7144 w 76200"/>
                <a:gd name="connsiteY6" fmla="*/ 7144 h 66675"/>
                <a:gd name="connsiteX7" fmla="*/ 22384 w 76200"/>
                <a:gd name="connsiteY7" fmla="*/ 7144 h 66675"/>
                <a:gd name="connsiteX8" fmla="*/ 41434 w 76200"/>
                <a:gd name="connsiteY8" fmla="*/ 31909 h 66675"/>
                <a:gd name="connsiteX9" fmla="*/ 58579 w 76200"/>
                <a:gd name="connsiteY9" fmla="*/ 7144 h 66675"/>
                <a:gd name="connsiteX10" fmla="*/ 58579 w 762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200" h="66675">
                  <a:moveTo>
                    <a:pt x="58579" y="7144"/>
                  </a:moveTo>
                  <a:lnTo>
                    <a:pt x="73819" y="7144"/>
                  </a:lnTo>
                  <a:lnTo>
                    <a:pt x="47149" y="44291"/>
                  </a:lnTo>
                  <a:lnTo>
                    <a:pt x="47149" y="64294"/>
                  </a:lnTo>
                  <a:lnTo>
                    <a:pt x="33814" y="64294"/>
                  </a:lnTo>
                  <a:lnTo>
                    <a:pt x="33814" y="44291"/>
                  </a:lnTo>
                  <a:lnTo>
                    <a:pt x="7144" y="7144"/>
                  </a:lnTo>
                  <a:lnTo>
                    <a:pt x="22384" y="7144"/>
                  </a:lnTo>
                  <a:lnTo>
                    <a:pt x="41434" y="31909"/>
                  </a:lnTo>
                  <a:lnTo>
                    <a:pt x="58579" y="7144"/>
                  </a:lnTo>
                  <a:lnTo>
                    <a:pt x="5857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FD5637C9-F850-49DF-962F-40BDCC2436C2}"/>
                </a:ext>
              </a:extLst>
            </p:cNvPr>
            <p:cNvSpPr/>
            <p:nvPr userDrawn="1"/>
          </p:nvSpPr>
          <p:spPr>
            <a:xfrm>
              <a:off x="431006" y="781844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4769 w 57150"/>
                <a:gd name="connsiteY4" fmla="*/ 29051 h 66675"/>
                <a:gd name="connsiteX5" fmla="*/ 54769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4769" y="29051"/>
                  </a:lnTo>
                  <a:lnTo>
                    <a:pt x="54769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6BBA728-04D7-4F07-B2F4-22038115C3D0}"/>
                </a:ext>
              </a:extLst>
            </p:cNvPr>
            <p:cNvSpPr/>
            <p:nvPr userDrawn="1"/>
          </p:nvSpPr>
          <p:spPr>
            <a:xfrm>
              <a:off x="497681" y="781844"/>
              <a:ext cx="66675" cy="66675"/>
            </a:xfrm>
            <a:custGeom>
              <a:avLst/>
              <a:gdLst>
                <a:gd name="connsiteX0" fmla="*/ 30956 w 66675"/>
                <a:gd name="connsiteY0" fmla="*/ 42386 h 66675"/>
                <a:gd name="connsiteX1" fmla="*/ 20479 w 66675"/>
                <a:gd name="connsiteY1" fmla="*/ 42386 h 66675"/>
                <a:gd name="connsiteX2" fmla="*/ 20479 w 66675"/>
                <a:gd name="connsiteY2" fmla="*/ 64294 h 66675"/>
                <a:gd name="connsiteX3" fmla="*/ 7144 w 66675"/>
                <a:gd name="connsiteY3" fmla="*/ 64294 h 66675"/>
                <a:gd name="connsiteX4" fmla="*/ 7144 w 66675"/>
                <a:gd name="connsiteY4" fmla="*/ 7144 h 66675"/>
                <a:gd name="connsiteX5" fmla="*/ 42386 w 66675"/>
                <a:gd name="connsiteY5" fmla="*/ 7144 h 66675"/>
                <a:gd name="connsiteX6" fmla="*/ 60484 w 66675"/>
                <a:gd name="connsiteY6" fmla="*/ 25241 h 66675"/>
                <a:gd name="connsiteX7" fmla="*/ 47149 w 66675"/>
                <a:gd name="connsiteY7" fmla="*/ 42386 h 66675"/>
                <a:gd name="connsiteX8" fmla="*/ 64294 w 66675"/>
                <a:gd name="connsiteY8" fmla="*/ 64294 h 66675"/>
                <a:gd name="connsiteX9" fmla="*/ 48101 w 66675"/>
                <a:gd name="connsiteY9" fmla="*/ 64294 h 66675"/>
                <a:gd name="connsiteX10" fmla="*/ 30956 w 66675"/>
                <a:gd name="connsiteY10" fmla="*/ 42386 h 66675"/>
                <a:gd name="connsiteX11" fmla="*/ 30956 w 66675"/>
                <a:gd name="connsiteY11" fmla="*/ 42386 h 66675"/>
                <a:gd name="connsiteX12" fmla="*/ 30956 w 66675"/>
                <a:gd name="connsiteY12" fmla="*/ 42386 h 66675"/>
                <a:gd name="connsiteX13" fmla="*/ 40481 w 66675"/>
                <a:gd name="connsiteY13" fmla="*/ 19526 h 66675"/>
                <a:gd name="connsiteX14" fmla="*/ 20479 w 66675"/>
                <a:gd name="connsiteY14" fmla="*/ 19526 h 66675"/>
                <a:gd name="connsiteX15" fmla="*/ 20479 w 66675"/>
                <a:gd name="connsiteY15" fmla="*/ 30004 h 66675"/>
                <a:gd name="connsiteX16" fmla="*/ 40481 w 66675"/>
                <a:gd name="connsiteY16" fmla="*/ 30004 h 66675"/>
                <a:gd name="connsiteX17" fmla="*/ 46196 w 66675"/>
                <a:gd name="connsiteY17" fmla="*/ 24289 h 66675"/>
                <a:gd name="connsiteX18" fmla="*/ 40481 w 66675"/>
                <a:gd name="connsiteY18" fmla="*/ 19526 h 66675"/>
                <a:gd name="connsiteX19" fmla="*/ 40481 w 66675"/>
                <a:gd name="connsiteY19" fmla="*/ 1952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30956" y="42386"/>
                  </a:moveTo>
                  <a:cubicBezTo>
                    <a:pt x="20479" y="42386"/>
                    <a:pt x="20479" y="42386"/>
                    <a:pt x="20479" y="42386"/>
                  </a:cubicBezTo>
                  <a:cubicBezTo>
                    <a:pt x="20479" y="64294"/>
                    <a:pt x="20479" y="64294"/>
                    <a:pt x="2047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60484" y="14764"/>
                    <a:pt x="60484" y="25241"/>
                  </a:cubicBezTo>
                  <a:cubicBezTo>
                    <a:pt x="60484" y="32861"/>
                    <a:pt x="54769" y="39529"/>
                    <a:pt x="47149" y="42386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8101" y="64294"/>
                    <a:pt x="48101" y="64294"/>
                    <a:pt x="48101" y="64294"/>
                  </a:cubicBezTo>
                  <a:lnTo>
                    <a:pt x="30956" y="42386"/>
                  </a:lnTo>
                  <a:lnTo>
                    <a:pt x="30956" y="42386"/>
                  </a:lnTo>
                  <a:lnTo>
                    <a:pt x="30956" y="42386"/>
                  </a:lnTo>
                  <a:close/>
                  <a:moveTo>
                    <a:pt x="40481" y="19526"/>
                  </a:move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0481" y="30004"/>
                    <a:pt x="40481" y="30004"/>
                    <a:pt x="40481" y="30004"/>
                  </a:cubicBezTo>
                  <a:cubicBezTo>
                    <a:pt x="43339" y="30004"/>
                    <a:pt x="46196" y="27146"/>
                    <a:pt x="46196" y="24289"/>
                  </a:cubicBezTo>
                  <a:cubicBezTo>
                    <a:pt x="46196" y="21431"/>
                    <a:pt x="44291" y="19526"/>
                    <a:pt x="40481" y="19526"/>
                  </a:cubicBezTo>
                  <a:lnTo>
                    <a:pt x="40481" y="1952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68D481F1-6EAB-4F13-871F-1595845811ED}"/>
                </a:ext>
              </a:extLst>
            </p:cNvPr>
            <p:cNvSpPr/>
            <p:nvPr userDrawn="1"/>
          </p:nvSpPr>
          <p:spPr>
            <a:xfrm>
              <a:off x="292894" y="781844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B21F685-93F2-482D-AB05-2DCF3FEC18DA}"/>
                </a:ext>
              </a:extLst>
            </p:cNvPr>
            <p:cNvSpPr/>
            <p:nvPr userDrawn="1"/>
          </p:nvSpPr>
          <p:spPr>
            <a:xfrm>
              <a:off x="354806" y="715169"/>
              <a:ext cx="76200" cy="66675"/>
            </a:xfrm>
            <a:custGeom>
              <a:avLst/>
              <a:gdLst>
                <a:gd name="connsiteX0" fmla="*/ 73819 w 76200"/>
                <a:gd name="connsiteY0" fmla="*/ 64294 h 66675"/>
                <a:gd name="connsiteX1" fmla="*/ 59531 w 76200"/>
                <a:gd name="connsiteY1" fmla="*/ 64294 h 66675"/>
                <a:gd name="connsiteX2" fmla="*/ 54769 w 76200"/>
                <a:gd name="connsiteY2" fmla="*/ 53816 h 66675"/>
                <a:gd name="connsiteX3" fmla="*/ 25241 w 76200"/>
                <a:gd name="connsiteY3" fmla="*/ 53816 h 66675"/>
                <a:gd name="connsiteX4" fmla="*/ 21431 w 76200"/>
                <a:gd name="connsiteY4" fmla="*/ 64294 h 66675"/>
                <a:gd name="connsiteX5" fmla="*/ 7144 w 76200"/>
                <a:gd name="connsiteY5" fmla="*/ 64294 h 66675"/>
                <a:gd name="connsiteX6" fmla="*/ 33814 w 76200"/>
                <a:gd name="connsiteY6" fmla="*/ 7144 h 66675"/>
                <a:gd name="connsiteX7" fmla="*/ 46196 w 76200"/>
                <a:gd name="connsiteY7" fmla="*/ 7144 h 66675"/>
                <a:gd name="connsiteX8" fmla="*/ 73819 w 76200"/>
                <a:gd name="connsiteY8" fmla="*/ 64294 h 66675"/>
                <a:gd name="connsiteX9" fmla="*/ 73819 w 76200"/>
                <a:gd name="connsiteY9" fmla="*/ 64294 h 66675"/>
                <a:gd name="connsiteX10" fmla="*/ 73819 w 76200"/>
                <a:gd name="connsiteY10" fmla="*/ 64294 h 66675"/>
                <a:gd name="connsiteX11" fmla="*/ 39529 w 76200"/>
                <a:gd name="connsiteY11" fmla="*/ 20479 h 66675"/>
                <a:gd name="connsiteX12" fmla="*/ 30004 w 76200"/>
                <a:gd name="connsiteY12" fmla="*/ 42386 h 66675"/>
                <a:gd name="connsiteX13" fmla="*/ 49054 w 76200"/>
                <a:gd name="connsiteY13" fmla="*/ 42386 h 66675"/>
                <a:gd name="connsiteX14" fmla="*/ 39529 w 76200"/>
                <a:gd name="connsiteY14" fmla="*/ 20479 h 66675"/>
                <a:gd name="connsiteX15" fmla="*/ 39529 w 76200"/>
                <a:gd name="connsiteY15" fmla="*/ 20479 h 66675"/>
                <a:gd name="connsiteX16" fmla="*/ 39529 w 76200"/>
                <a:gd name="connsiteY16" fmla="*/ 2047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6200" h="66675">
                  <a:moveTo>
                    <a:pt x="73819" y="64294"/>
                  </a:moveTo>
                  <a:lnTo>
                    <a:pt x="59531" y="64294"/>
                  </a:lnTo>
                  <a:lnTo>
                    <a:pt x="54769" y="53816"/>
                  </a:lnTo>
                  <a:lnTo>
                    <a:pt x="25241" y="53816"/>
                  </a:lnTo>
                  <a:lnTo>
                    <a:pt x="21431" y="64294"/>
                  </a:lnTo>
                  <a:lnTo>
                    <a:pt x="7144" y="64294"/>
                  </a:lnTo>
                  <a:lnTo>
                    <a:pt x="33814" y="7144"/>
                  </a:lnTo>
                  <a:lnTo>
                    <a:pt x="46196" y="7144"/>
                  </a:lnTo>
                  <a:lnTo>
                    <a:pt x="73819" y="64294"/>
                  </a:lnTo>
                  <a:lnTo>
                    <a:pt x="73819" y="64294"/>
                  </a:lnTo>
                  <a:lnTo>
                    <a:pt x="73819" y="64294"/>
                  </a:lnTo>
                  <a:close/>
                  <a:moveTo>
                    <a:pt x="39529" y="20479"/>
                  </a:moveTo>
                  <a:lnTo>
                    <a:pt x="30004" y="42386"/>
                  </a:lnTo>
                  <a:lnTo>
                    <a:pt x="49054" y="42386"/>
                  </a:lnTo>
                  <a:lnTo>
                    <a:pt x="39529" y="20479"/>
                  </a:lnTo>
                  <a:lnTo>
                    <a:pt x="39529" y="20479"/>
                  </a:lnTo>
                  <a:lnTo>
                    <a:pt x="39529" y="204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C4A3273-1045-4626-835F-2658256F20BF}"/>
                </a:ext>
              </a:extLst>
            </p:cNvPr>
            <p:cNvSpPr/>
            <p:nvPr userDrawn="1"/>
          </p:nvSpPr>
          <p:spPr>
            <a:xfrm>
              <a:off x="230981" y="781844"/>
              <a:ext cx="66675" cy="66675"/>
            </a:xfrm>
            <a:custGeom>
              <a:avLst/>
              <a:gdLst>
                <a:gd name="connsiteX0" fmla="*/ 20479 w 66675"/>
                <a:gd name="connsiteY0" fmla="*/ 29051 h 66675"/>
                <a:gd name="connsiteX1" fmla="*/ 44291 w 66675"/>
                <a:gd name="connsiteY1" fmla="*/ 29051 h 66675"/>
                <a:gd name="connsiteX2" fmla="*/ 49054 w 66675"/>
                <a:gd name="connsiteY2" fmla="*/ 24289 h 66675"/>
                <a:gd name="connsiteX3" fmla="*/ 44291 w 66675"/>
                <a:gd name="connsiteY3" fmla="*/ 19526 h 66675"/>
                <a:gd name="connsiteX4" fmla="*/ 20479 w 66675"/>
                <a:gd name="connsiteY4" fmla="*/ 19526 h 66675"/>
                <a:gd name="connsiteX5" fmla="*/ 20479 w 66675"/>
                <a:gd name="connsiteY5" fmla="*/ 29051 h 66675"/>
                <a:gd name="connsiteX6" fmla="*/ 20479 w 66675"/>
                <a:gd name="connsiteY6" fmla="*/ 29051 h 66675"/>
                <a:gd name="connsiteX7" fmla="*/ 20479 w 66675"/>
                <a:gd name="connsiteY7" fmla="*/ 29051 h 66675"/>
                <a:gd name="connsiteX8" fmla="*/ 20479 w 66675"/>
                <a:gd name="connsiteY8" fmla="*/ 51911 h 66675"/>
                <a:gd name="connsiteX9" fmla="*/ 45244 w 66675"/>
                <a:gd name="connsiteY9" fmla="*/ 51911 h 66675"/>
                <a:gd name="connsiteX10" fmla="*/ 50959 w 66675"/>
                <a:gd name="connsiteY10" fmla="*/ 46196 h 66675"/>
                <a:gd name="connsiteX11" fmla="*/ 45244 w 66675"/>
                <a:gd name="connsiteY11" fmla="*/ 40481 h 66675"/>
                <a:gd name="connsiteX12" fmla="*/ 20479 w 66675"/>
                <a:gd name="connsiteY12" fmla="*/ 40481 h 66675"/>
                <a:gd name="connsiteX13" fmla="*/ 20479 w 66675"/>
                <a:gd name="connsiteY13" fmla="*/ 51911 h 66675"/>
                <a:gd name="connsiteX14" fmla="*/ 20479 w 66675"/>
                <a:gd name="connsiteY14" fmla="*/ 51911 h 66675"/>
                <a:gd name="connsiteX15" fmla="*/ 20479 w 66675"/>
                <a:gd name="connsiteY15" fmla="*/ 51911 h 66675"/>
                <a:gd name="connsiteX16" fmla="*/ 58579 w 66675"/>
                <a:gd name="connsiteY16" fmla="*/ 34766 h 66675"/>
                <a:gd name="connsiteX17" fmla="*/ 64294 w 66675"/>
                <a:gd name="connsiteY17" fmla="*/ 47149 h 66675"/>
                <a:gd name="connsiteX18" fmla="*/ 47149 w 66675"/>
                <a:gd name="connsiteY18" fmla="*/ 64294 h 66675"/>
                <a:gd name="connsiteX19" fmla="*/ 7144 w 66675"/>
                <a:gd name="connsiteY19" fmla="*/ 64294 h 66675"/>
                <a:gd name="connsiteX20" fmla="*/ 7144 w 66675"/>
                <a:gd name="connsiteY20" fmla="*/ 7144 h 66675"/>
                <a:gd name="connsiteX21" fmla="*/ 46196 w 66675"/>
                <a:gd name="connsiteY21" fmla="*/ 7144 h 66675"/>
                <a:gd name="connsiteX22" fmla="*/ 62389 w 66675"/>
                <a:gd name="connsiteY22" fmla="*/ 24289 h 66675"/>
                <a:gd name="connsiteX23" fmla="*/ 58579 w 66675"/>
                <a:gd name="connsiteY23" fmla="*/ 34766 h 66675"/>
                <a:gd name="connsiteX24" fmla="*/ 58579 w 66675"/>
                <a:gd name="connsiteY24" fmla="*/ 347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6675" h="66675">
                  <a:moveTo>
                    <a:pt x="20479" y="29051"/>
                  </a:moveTo>
                  <a:cubicBezTo>
                    <a:pt x="44291" y="29051"/>
                    <a:pt x="44291" y="29051"/>
                    <a:pt x="44291" y="29051"/>
                  </a:cubicBezTo>
                  <a:cubicBezTo>
                    <a:pt x="47149" y="29051"/>
                    <a:pt x="49054" y="27146"/>
                    <a:pt x="49054" y="24289"/>
                  </a:cubicBezTo>
                  <a:cubicBezTo>
                    <a:pt x="49054" y="21431"/>
                    <a:pt x="47149" y="19526"/>
                    <a:pt x="44291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lnTo>
                    <a:pt x="20479" y="29051"/>
                  </a:lnTo>
                  <a:lnTo>
                    <a:pt x="20479" y="29051"/>
                  </a:lnTo>
                  <a:lnTo>
                    <a:pt x="20479" y="29051"/>
                  </a:lnTo>
                  <a:close/>
                  <a:moveTo>
                    <a:pt x="20479" y="51911"/>
                  </a:moveTo>
                  <a:cubicBezTo>
                    <a:pt x="45244" y="51911"/>
                    <a:pt x="45244" y="51911"/>
                    <a:pt x="45244" y="51911"/>
                  </a:cubicBezTo>
                  <a:cubicBezTo>
                    <a:pt x="48101" y="51911"/>
                    <a:pt x="50959" y="49054"/>
                    <a:pt x="50959" y="46196"/>
                  </a:cubicBezTo>
                  <a:cubicBezTo>
                    <a:pt x="50959" y="43339"/>
                    <a:pt x="48101" y="40481"/>
                    <a:pt x="45244" y="40481"/>
                  </a:cubicBezTo>
                  <a:cubicBezTo>
                    <a:pt x="20479" y="40481"/>
                    <a:pt x="20479" y="40481"/>
                    <a:pt x="20479" y="40481"/>
                  </a:cubicBezTo>
                  <a:lnTo>
                    <a:pt x="20479" y="51911"/>
                  </a:lnTo>
                  <a:lnTo>
                    <a:pt x="20479" y="51911"/>
                  </a:lnTo>
                  <a:lnTo>
                    <a:pt x="20479" y="51911"/>
                  </a:lnTo>
                  <a:close/>
                  <a:moveTo>
                    <a:pt x="58579" y="34766"/>
                  </a:moveTo>
                  <a:cubicBezTo>
                    <a:pt x="62389" y="37624"/>
                    <a:pt x="64294" y="42386"/>
                    <a:pt x="64294" y="47149"/>
                  </a:cubicBezTo>
                  <a:cubicBezTo>
                    <a:pt x="64294" y="56674"/>
                    <a:pt x="56674" y="64294"/>
                    <a:pt x="47149" y="64294"/>
                  </a:cubicBezTo>
                  <a:cubicBezTo>
                    <a:pt x="7144" y="64294"/>
                    <a:pt x="7144" y="64294"/>
                    <a:pt x="7144" y="64294"/>
                  </a:cubicBezTo>
                  <a:cubicBezTo>
                    <a:pt x="7144" y="7144"/>
                    <a:pt x="7144" y="7144"/>
                    <a:pt x="7144" y="7144"/>
                  </a:cubicBezTo>
                  <a:cubicBezTo>
                    <a:pt x="46196" y="7144"/>
                    <a:pt x="46196" y="7144"/>
                    <a:pt x="46196" y="7144"/>
                  </a:cubicBezTo>
                  <a:cubicBezTo>
                    <a:pt x="55721" y="7144"/>
                    <a:pt x="62389" y="14764"/>
                    <a:pt x="62389" y="24289"/>
                  </a:cubicBezTo>
                  <a:cubicBezTo>
                    <a:pt x="63341" y="28099"/>
                    <a:pt x="61436" y="31909"/>
                    <a:pt x="58579" y="34766"/>
                  </a:cubicBezTo>
                  <a:lnTo>
                    <a:pt x="58579" y="3476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AAF4F819-8FA5-4933-A814-D0968AC880A0}"/>
                </a:ext>
              </a:extLst>
            </p:cNvPr>
            <p:cNvSpPr/>
            <p:nvPr userDrawn="1"/>
          </p:nvSpPr>
          <p:spPr>
            <a:xfrm>
              <a:off x="364331" y="848519"/>
              <a:ext cx="57150" cy="66675"/>
            </a:xfrm>
            <a:custGeom>
              <a:avLst/>
              <a:gdLst>
                <a:gd name="connsiteX0" fmla="*/ 54769 w 57150"/>
                <a:gd name="connsiteY0" fmla="*/ 7144 h 66675"/>
                <a:gd name="connsiteX1" fmla="*/ 54769 w 57150"/>
                <a:gd name="connsiteY1" fmla="*/ 18574 h 66675"/>
                <a:gd name="connsiteX2" fmla="*/ 19526 w 57150"/>
                <a:gd name="connsiteY2" fmla="*/ 18574 h 66675"/>
                <a:gd name="connsiteX3" fmla="*/ 19526 w 57150"/>
                <a:gd name="connsiteY3" fmla="*/ 29051 h 66675"/>
                <a:gd name="connsiteX4" fmla="*/ 52864 w 57150"/>
                <a:gd name="connsiteY4" fmla="*/ 29051 h 66675"/>
                <a:gd name="connsiteX5" fmla="*/ 52864 w 57150"/>
                <a:gd name="connsiteY5" fmla="*/ 40481 h 66675"/>
                <a:gd name="connsiteX6" fmla="*/ 19526 w 57150"/>
                <a:gd name="connsiteY6" fmla="*/ 40481 h 66675"/>
                <a:gd name="connsiteX7" fmla="*/ 19526 w 57150"/>
                <a:gd name="connsiteY7" fmla="*/ 52864 h 66675"/>
                <a:gd name="connsiteX8" fmla="*/ 54769 w 57150"/>
                <a:gd name="connsiteY8" fmla="*/ 52864 h 66675"/>
                <a:gd name="connsiteX9" fmla="*/ 54769 w 57150"/>
                <a:gd name="connsiteY9" fmla="*/ 64294 h 66675"/>
                <a:gd name="connsiteX10" fmla="*/ 7144 w 57150"/>
                <a:gd name="connsiteY10" fmla="*/ 64294 h 66675"/>
                <a:gd name="connsiteX11" fmla="*/ 7144 w 57150"/>
                <a:gd name="connsiteY11" fmla="*/ 7144 h 66675"/>
                <a:gd name="connsiteX12" fmla="*/ 54769 w 57150"/>
                <a:gd name="connsiteY12" fmla="*/ 7144 h 66675"/>
                <a:gd name="connsiteX13" fmla="*/ 54769 w 57150"/>
                <a:gd name="connsiteY1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7150" h="66675">
                  <a:moveTo>
                    <a:pt x="54769" y="7144"/>
                  </a:moveTo>
                  <a:lnTo>
                    <a:pt x="54769" y="18574"/>
                  </a:lnTo>
                  <a:lnTo>
                    <a:pt x="19526" y="18574"/>
                  </a:lnTo>
                  <a:lnTo>
                    <a:pt x="19526" y="29051"/>
                  </a:lnTo>
                  <a:lnTo>
                    <a:pt x="52864" y="29051"/>
                  </a:lnTo>
                  <a:lnTo>
                    <a:pt x="52864" y="40481"/>
                  </a:lnTo>
                  <a:lnTo>
                    <a:pt x="19526" y="40481"/>
                  </a:lnTo>
                  <a:lnTo>
                    <a:pt x="19526" y="52864"/>
                  </a:lnTo>
                  <a:lnTo>
                    <a:pt x="54769" y="52864"/>
                  </a:lnTo>
                  <a:lnTo>
                    <a:pt x="54769" y="64294"/>
                  </a:lnTo>
                  <a:lnTo>
                    <a:pt x="7144" y="64294"/>
                  </a:lnTo>
                  <a:lnTo>
                    <a:pt x="7144" y="7144"/>
                  </a:lnTo>
                  <a:lnTo>
                    <a:pt x="54769" y="7144"/>
                  </a:lnTo>
                  <a:lnTo>
                    <a:pt x="54769" y="71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377E2B8-F9E5-47DA-A04D-93243A86CECB}"/>
                </a:ext>
              </a:extLst>
            </p:cNvPr>
            <p:cNvSpPr/>
            <p:nvPr userDrawn="1"/>
          </p:nvSpPr>
          <p:spPr>
            <a:xfrm>
              <a:off x="364331" y="915194"/>
              <a:ext cx="66675" cy="66675"/>
            </a:xfrm>
            <a:custGeom>
              <a:avLst/>
              <a:gdLst>
                <a:gd name="connsiteX0" fmla="*/ 46196 w 66675"/>
                <a:gd name="connsiteY0" fmla="*/ 25241 h 66675"/>
                <a:gd name="connsiteX1" fmla="*/ 41434 w 66675"/>
                <a:gd name="connsiteY1" fmla="*/ 19526 h 66675"/>
                <a:gd name="connsiteX2" fmla="*/ 20479 w 66675"/>
                <a:gd name="connsiteY2" fmla="*/ 19526 h 66675"/>
                <a:gd name="connsiteX3" fmla="*/ 20479 w 66675"/>
                <a:gd name="connsiteY3" fmla="*/ 30004 h 66675"/>
                <a:gd name="connsiteX4" fmla="*/ 41434 w 66675"/>
                <a:gd name="connsiteY4" fmla="*/ 30004 h 66675"/>
                <a:gd name="connsiteX5" fmla="*/ 46196 w 66675"/>
                <a:gd name="connsiteY5" fmla="*/ 25241 h 66675"/>
                <a:gd name="connsiteX6" fmla="*/ 46196 w 66675"/>
                <a:gd name="connsiteY6" fmla="*/ 25241 h 66675"/>
                <a:gd name="connsiteX7" fmla="*/ 7144 w 66675"/>
                <a:gd name="connsiteY7" fmla="*/ 64294 h 66675"/>
                <a:gd name="connsiteX8" fmla="*/ 7144 w 66675"/>
                <a:gd name="connsiteY8" fmla="*/ 7144 h 66675"/>
                <a:gd name="connsiteX9" fmla="*/ 42386 w 66675"/>
                <a:gd name="connsiteY9" fmla="*/ 7144 h 66675"/>
                <a:gd name="connsiteX10" fmla="*/ 58579 w 66675"/>
                <a:gd name="connsiteY10" fmla="*/ 25241 h 66675"/>
                <a:gd name="connsiteX11" fmla="*/ 48101 w 66675"/>
                <a:gd name="connsiteY11" fmla="*/ 41434 h 66675"/>
                <a:gd name="connsiteX12" fmla="*/ 64294 w 66675"/>
                <a:gd name="connsiteY12" fmla="*/ 64294 h 66675"/>
                <a:gd name="connsiteX13" fmla="*/ 49054 w 66675"/>
                <a:gd name="connsiteY13" fmla="*/ 64294 h 66675"/>
                <a:gd name="connsiteX14" fmla="*/ 33814 w 66675"/>
                <a:gd name="connsiteY14" fmla="*/ 42386 h 66675"/>
                <a:gd name="connsiteX15" fmla="*/ 19526 w 66675"/>
                <a:gd name="connsiteY15" fmla="*/ 42386 h 66675"/>
                <a:gd name="connsiteX16" fmla="*/ 19526 w 66675"/>
                <a:gd name="connsiteY16" fmla="*/ 64294 h 66675"/>
                <a:gd name="connsiteX17" fmla="*/ 7144 w 66675"/>
                <a:gd name="connsiteY17" fmla="*/ 64294 h 66675"/>
                <a:gd name="connsiteX18" fmla="*/ 7144 w 66675"/>
                <a:gd name="connsiteY18" fmla="*/ 64294 h 66675"/>
                <a:gd name="connsiteX19" fmla="*/ 7144 w 66675"/>
                <a:gd name="connsiteY19" fmla="*/ 6429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6675" h="66675">
                  <a:moveTo>
                    <a:pt x="46196" y="25241"/>
                  </a:moveTo>
                  <a:cubicBezTo>
                    <a:pt x="46196" y="22384"/>
                    <a:pt x="44291" y="19526"/>
                    <a:pt x="41434" y="19526"/>
                  </a:cubicBezTo>
                  <a:cubicBezTo>
                    <a:pt x="20479" y="19526"/>
                    <a:pt x="20479" y="19526"/>
                    <a:pt x="20479" y="19526"/>
                  </a:cubicBezTo>
                  <a:cubicBezTo>
                    <a:pt x="20479" y="30004"/>
                    <a:pt x="20479" y="30004"/>
                    <a:pt x="20479" y="30004"/>
                  </a:cubicBezTo>
                  <a:cubicBezTo>
                    <a:pt x="41434" y="30004"/>
                    <a:pt x="41434" y="30004"/>
                    <a:pt x="41434" y="30004"/>
                  </a:cubicBezTo>
                  <a:cubicBezTo>
                    <a:pt x="43339" y="30004"/>
                    <a:pt x="46196" y="28099"/>
                    <a:pt x="46196" y="25241"/>
                  </a:cubicBezTo>
                  <a:lnTo>
                    <a:pt x="46196" y="25241"/>
                  </a:lnTo>
                  <a:close/>
                  <a:moveTo>
                    <a:pt x="7144" y="64294"/>
                  </a:moveTo>
                  <a:cubicBezTo>
                    <a:pt x="7144" y="7144"/>
                    <a:pt x="7144" y="7144"/>
                    <a:pt x="7144" y="7144"/>
                  </a:cubicBezTo>
                  <a:cubicBezTo>
                    <a:pt x="42386" y="7144"/>
                    <a:pt x="42386" y="7144"/>
                    <a:pt x="42386" y="7144"/>
                  </a:cubicBezTo>
                  <a:cubicBezTo>
                    <a:pt x="51911" y="7144"/>
                    <a:pt x="58579" y="14764"/>
                    <a:pt x="58579" y="25241"/>
                  </a:cubicBezTo>
                  <a:cubicBezTo>
                    <a:pt x="58579" y="32861"/>
                    <a:pt x="54769" y="39529"/>
                    <a:pt x="48101" y="41434"/>
                  </a:cubicBezTo>
                  <a:cubicBezTo>
                    <a:pt x="64294" y="64294"/>
                    <a:pt x="64294" y="64294"/>
                    <a:pt x="64294" y="64294"/>
                  </a:cubicBezTo>
                  <a:cubicBezTo>
                    <a:pt x="49054" y="64294"/>
                    <a:pt x="49054" y="64294"/>
                    <a:pt x="49054" y="64294"/>
                  </a:cubicBezTo>
                  <a:cubicBezTo>
                    <a:pt x="33814" y="42386"/>
                    <a:pt x="33814" y="42386"/>
                    <a:pt x="33814" y="42386"/>
                  </a:cubicBezTo>
                  <a:cubicBezTo>
                    <a:pt x="19526" y="42386"/>
                    <a:pt x="19526" y="42386"/>
                    <a:pt x="19526" y="42386"/>
                  </a:cubicBezTo>
                  <a:cubicBezTo>
                    <a:pt x="19526" y="64294"/>
                    <a:pt x="19526" y="64294"/>
                    <a:pt x="19526" y="64294"/>
                  </a:cubicBezTo>
                  <a:lnTo>
                    <a:pt x="7144" y="64294"/>
                  </a:lnTo>
                  <a:lnTo>
                    <a:pt x="7144" y="64294"/>
                  </a:lnTo>
                  <a:lnTo>
                    <a:pt x="7144" y="6429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23" name="MIO_VALID_LAYOUT" hidden="1">
            <a:extLst>
              <a:ext uri="{FF2B5EF4-FFF2-40B4-BE49-F238E27FC236}">
                <a16:creationId xmlns:a16="http://schemas.microsoft.com/office/drawing/2014/main" id="{56070DB7-AA9D-44F4-A996-8985C7C81EF6}"/>
              </a:ext>
            </a:extLst>
          </p:cNvPr>
          <p:cNvSpPr/>
          <p:nvPr userDrawn="1"/>
        </p:nvSpPr>
        <p:spPr bwMode="gray">
          <a:xfrm>
            <a:off x="69577" y="6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27463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33393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50477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3C1C0AC-E9C0-5D98-7744-7F239998B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44F0C59E-745E-5E31-3B72-8420C9CBB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8CC56-53BB-41AD-A59A-05066A3BEFCF}" type="datetime1">
              <a:rPr lang="en-US" smtClean="0"/>
              <a:t>11/10/2023</a:t>
            </a:fld>
            <a:endParaRPr lang="en-US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094A00AC-6FC5-9A8B-FE9E-A61855A1A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Sustainability /// Do you know?</a:t>
            </a:r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5D3985C3-F3F8-F82F-0C85-EA5814AB74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16">
            <a:extLst>
              <a:ext uri="{FF2B5EF4-FFF2-40B4-BE49-F238E27FC236}">
                <a16:creationId xmlns:a16="http://schemas.microsoft.com/office/drawing/2014/main" id="{B611D168-CDA2-B82F-24E2-3DE050D1DE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095924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hu-HU"/>
              <a:t>Kép beszúrásához kattintson az ikonra</a:t>
            </a:r>
            <a:endParaRPr lang="de-DE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F1C1A003-F870-47BC-85D0-8DFCFB9839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26656" y="352425"/>
            <a:ext cx="523026" cy="52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0483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B170E6-2B06-C0FB-8296-89D5A8F7C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27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B170E6-2B06-C0FB-8296-89D5A8F7C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 descr="\\nas-mainz\Projekte_vertraulich\Bayer\17-0612_Fischer_CI-Redesign\vom Kunden\Bayer_Cross_2017_on-Screen_RGB_170630.wmf">
            <a:extLst>
              <a:ext uri="{FF2B5EF4-FFF2-40B4-BE49-F238E27FC236}">
                <a16:creationId xmlns:a16="http://schemas.microsoft.com/office/drawing/2014/main" id="{64DCC546-BED6-E396-52C1-1764E85B4A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243616" y="440724"/>
            <a:ext cx="504218" cy="504000"/>
          </a:xfrm>
          <a:prstGeom prst="rect">
            <a:avLst/>
          </a:prstGeom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arallelogram 19">
            <a:extLst>
              <a:ext uri="{FF2B5EF4-FFF2-40B4-BE49-F238E27FC236}">
                <a16:creationId xmlns:a16="http://schemas.microsoft.com/office/drawing/2014/main" id="{32E7EEDD-C092-8823-3B39-C2B2DFB58EEE}"/>
              </a:ext>
            </a:extLst>
          </p:cNvPr>
          <p:cNvSpPr/>
          <p:nvPr userDrawn="1"/>
        </p:nvSpPr>
        <p:spPr bwMode="gray">
          <a:xfrm>
            <a:off x="946636" y="1772820"/>
            <a:ext cx="2317591" cy="2198687"/>
          </a:xfrm>
          <a:prstGeom prst="parallelogram">
            <a:avLst>
              <a:gd name="adj" fmla="val 33863"/>
            </a:avLst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Parallelogram 29">
            <a:extLst>
              <a:ext uri="{FF2B5EF4-FFF2-40B4-BE49-F238E27FC236}">
                <a16:creationId xmlns:a16="http://schemas.microsoft.com/office/drawing/2014/main" id="{564F05BA-762A-055D-3593-E8A5E0CEBD86}"/>
              </a:ext>
            </a:extLst>
          </p:cNvPr>
          <p:cNvSpPr/>
          <p:nvPr userDrawn="1"/>
        </p:nvSpPr>
        <p:spPr bwMode="gray">
          <a:xfrm>
            <a:off x="3862960" y="-2"/>
            <a:ext cx="2199463" cy="6486527"/>
          </a:xfrm>
          <a:prstGeom prst="parallelogram">
            <a:avLst>
              <a:gd name="adj" fmla="val 70253"/>
            </a:avLst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30942C4F-3912-293A-D875-0B6DE2BE7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4646" y="6417332"/>
            <a:ext cx="720000" cy="21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AC6EC637-DD63-5E6E-F4EC-8A60AF2CBB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06874" y="6417356"/>
            <a:ext cx="8640000" cy="21600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10384F"/>
              </a:solidFill>
            </a:endParaRP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C8B06FE6-78A7-E119-FDAB-0ACDA9660E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42578" y="6416687"/>
            <a:ext cx="432000" cy="216000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870059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2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pl-PL"/>
              <a:t>Kliknij, aby edytować styl wzorca podtytułu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2" y="1732751"/>
            <a:ext cx="10798461" cy="4751999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1777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2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240F759-6C5A-4A96-885E-3AC3B4871ADC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June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2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9A0C59AA-B9B2-4D0E-990D-E0F9A13E0B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562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180356D-C7C1-4C37-B063-0AA9DBF74C03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EMEA 2019 Template /// May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281" y="1732751"/>
            <a:ext cx="10800000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30139401-173B-4EBC-8931-608965666B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3802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ajd tytułow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6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pl-PL"/>
              <a:t>Kliknij, aby edytować styl wzorca podtytuł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5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9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3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pl-PL"/>
              <a:t>Kliknij ikonę, aby dodać obraz</a:t>
            </a:r>
            <a:endParaRPr lang="de-DE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3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716976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B170E6-2B06-C0FB-8296-89D5A8F7C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27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B170E6-2B06-C0FB-8296-89D5A8F7C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DCB1B8-5A40-81C8-3A4F-2E728EB4A18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4646" y="6417332"/>
            <a:ext cx="720000" cy="21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584438-FAA9-F01B-A9A3-CF2758271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06874" y="6417356"/>
            <a:ext cx="8640000" cy="21600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10384F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937E45-955C-4075-27DF-AE3B3D1E17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42578" y="6416687"/>
            <a:ext cx="432000" cy="216000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899247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ajd tytułowy czarn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3615666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2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hu-HU"/>
              <a:t>Kattintson ide az alcím mintájának szerkesztéséhez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54646" y="6417332"/>
            <a:ext cx="720000" cy="216000"/>
          </a:xfrm>
          <a:prstGeom prst="rect">
            <a:avLst/>
          </a:prstGeom>
        </p:spPr>
        <p:txBody>
          <a:bodyPr/>
          <a:lstStyle/>
          <a:p>
            <a:fld id="{103B38B9-1EA8-41BF-B4D1-5E9E866E783C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3106874" y="6417356"/>
            <a:ext cx="8640000" cy="21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/// Sustainability /// Do you know?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442578" y="6416687"/>
            <a:ext cx="432000" cy="216000"/>
          </a:xfrm>
          <a:prstGeom prst="rect">
            <a:avLst/>
          </a:prstGeom>
        </p:spPr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98406" y="414138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2" y="1732751"/>
            <a:ext cx="10798461" cy="4751999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8661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9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Sustainability at Bayer /// July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399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5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9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3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83824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C38CAD6F-46E5-4227-83D0-2F0882BC77CC}"/>
              </a:ext>
            </a:extLst>
          </p:cNvPr>
          <p:cNvSpPr/>
          <p:nvPr userDrawn="1"/>
        </p:nvSpPr>
        <p:spPr bwMode="gray">
          <a:xfrm>
            <a:off x="2" y="0"/>
            <a:ext cx="12190413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7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00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4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C769529F-CC38-414D-A4AD-36F4B3ECB6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7238" y="646112"/>
            <a:ext cx="856580" cy="85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DF8D785-2A4E-4B40-A5F8-8F1EDDA0AD4B}"/>
              </a:ext>
            </a:extLst>
          </p:cNvPr>
          <p:cNvCxnSpPr/>
          <p:nvPr userDrawn="1"/>
        </p:nvCxnSpPr>
        <p:spPr bwMode="gray">
          <a:xfrm flipV="1">
            <a:off x="7477125" y="4760681"/>
            <a:ext cx="5314950" cy="2317608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11342214-1888-4663-A1D7-65FA83D5DBD9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3561114" y="-228600"/>
            <a:ext cx="2573655" cy="7306889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4947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1565946" y="1731269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1541732" y="2513961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565948" y="415981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4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C769529F-CC38-414D-A4AD-36F4B3ECB6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7238" y="646112"/>
            <a:ext cx="856580" cy="85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CDF8D785-2A4E-4B40-A5F8-8F1EDDA0AD4B}"/>
              </a:ext>
            </a:extLst>
          </p:cNvPr>
          <p:cNvCxnSpPr/>
          <p:nvPr userDrawn="1"/>
        </p:nvCxnSpPr>
        <p:spPr bwMode="gray">
          <a:xfrm flipV="1">
            <a:off x="7477125" y="4760681"/>
            <a:ext cx="5314950" cy="2317608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13">
            <a:extLst>
              <a:ext uri="{FF2B5EF4-FFF2-40B4-BE49-F238E27FC236}">
                <a16:creationId xmlns:a16="http://schemas.microsoft.com/office/drawing/2014/main" id="{CAF4CE21-1D81-4E5C-A5C7-8CD07FEE7D7F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414129" y="3"/>
            <a:ext cx="2573655" cy="7306889"/>
          </a:xfrm>
          <a:prstGeom prst="line">
            <a:avLst/>
          </a:prstGeom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8">
            <a:extLst>
              <a:ext uri="{FF2B5EF4-FFF2-40B4-BE49-F238E27FC236}">
                <a16:creationId xmlns:a16="http://schemas.microsoft.com/office/drawing/2014/main" id="{E4F7066E-6F27-4316-8A0E-1062564A096F}"/>
              </a:ext>
            </a:extLst>
          </p:cNvPr>
          <p:cNvCxnSpPr>
            <a:cxnSpLocks/>
          </p:cNvCxnSpPr>
          <p:nvPr userDrawn="1"/>
        </p:nvCxnSpPr>
        <p:spPr bwMode="gray">
          <a:xfrm flipV="1">
            <a:off x="-4160916" y="2"/>
            <a:ext cx="7788503" cy="760566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34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image" Target="../media/image8.pn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tags" Target="../tags/tag8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theme" Target="../theme/theme2.xml"/><Relationship Id="rId30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738A99E-1400-4ED4-7079-3F42B7E3F7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02201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08" imgH="408" progId="TCLayout.ActiveDocument.1">
                  <p:embed/>
                </p:oleObj>
              </mc:Choice>
              <mc:Fallback>
                <p:oleObj name="think-cell Slide" r:id="rId10" imgW="408" imgH="40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738A99E-1400-4ED4-7079-3F42B7E3F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2578" y="1557338"/>
            <a:ext cx="11304922" cy="45719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223526" y="440728"/>
            <a:ext cx="10368000" cy="54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l-PL"/>
              <a:t>Kliknij, aby edytować styl</a:t>
            </a:r>
            <a:endParaRPr lang="en-US"/>
          </a:p>
        </p:txBody>
      </p:sp>
      <p:pic>
        <p:nvPicPr>
          <p:cNvPr id="45" name="Picture 2" descr="\\nas-mainz\Projekte_vertraulich\Bayer\17-0612_Fischer_CI-Redesign\vom Kunden\Bayer_Cross_2017_REV-White_on-Screen_RGB_170630.wmf">
            <a:hlinkClick r:id="" action="ppaction://noaction"/>
            <a:extLst>
              <a:ext uri="{FF2B5EF4-FFF2-40B4-BE49-F238E27FC236}">
                <a16:creationId xmlns:a16="http://schemas.microsoft.com/office/drawing/2014/main" id="{AF93962E-7FED-B46E-2F19-CC65D600C3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42856" y="440724"/>
            <a:ext cx="504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358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7" r:id="rId1"/>
    <p:sldLayoutId id="2147484388" r:id="rId2"/>
    <p:sldLayoutId id="2147484389" r:id="rId3"/>
    <p:sldLayoutId id="2147484390" r:id="rId4"/>
    <p:sldLayoutId id="2147484391" r:id="rId5"/>
    <p:sldLayoutId id="2147484392" r:id="rId6"/>
    <p:sldLayoutId id="2147484393" r:id="rId7"/>
  </p:sldLayoutIdLst>
  <p:transition spd="slow">
    <p:push dir="u"/>
  </p:transition>
  <p:hf hdr="0" ftr="0" dt="0"/>
  <p:txStyles>
    <p:titleStyle>
      <a:lvl1pPr algn="l" defTabSz="914127" rtl="0" eaLnBrk="1" latinLnBrk="0" hangingPunct="1">
        <a:spcBef>
          <a:spcPct val="0"/>
        </a:spcBef>
        <a:buNone/>
        <a:defRPr sz="2400" kern="1200">
          <a:solidFill>
            <a:srgbClr val="66B512"/>
          </a:solidFill>
          <a:latin typeface="+mj-lt"/>
          <a:ea typeface="Roboto Light" panose="02000000000000000000" pitchFamily="2" charset="0"/>
          <a:cs typeface="+mj-cs"/>
        </a:defRPr>
      </a:lvl1pPr>
    </p:titleStyle>
    <p:bodyStyle>
      <a:lvl1pPr marL="0" indent="0" algn="l" defTabSz="914127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1pPr>
      <a:lvl2pPr marL="215956" indent="-215956" algn="l" defTabSz="914127" rtl="0" eaLnBrk="1" latinLnBrk="0" hangingPunct="1">
        <a:spcBef>
          <a:spcPts val="0"/>
        </a:spcBef>
        <a:spcAft>
          <a:spcPts val="600"/>
        </a:spcAft>
        <a:buClr>
          <a:schemeClr val="bg1"/>
        </a:buClr>
        <a:buSzPct val="100000"/>
        <a:buFont typeface="Courier New" panose="02070309020205020404" pitchFamily="49" charset="0"/>
        <a:buChar char="o"/>
        <a:defRPr sz="140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2pPr>
      <a:lvl3pPr marL="269919" indent="0" algn="l" defTabSz="914127" rtl="0" eaLnBrk="1" latinLnBrk="0" hangingPunct="1">
        <a:spcBef>
          <a:spcPts val="300"/>
        </a:spcBef>
        <a:spcAft>
          <a:spcPts val="600"/>
        </a:spcAft>
        <a:buFontTx/>
        <a:buNone/>
        <a:defRPr sz="180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3pPr>
      <a:lvl4pPr marL="809757" indent="-269919" algn="l" defTabSz="914127" rtl="0" eaLnBrk="1" latinLnBrk="0" hangingPunct="1">
        <a:spcBef>
          <a:spcPts val="300"/>
        </a:spcBef>
        <a:spcAft>
          <a:spcPts val="600"/>
        </a:spcAft>
        <a:buFontTx/>
        <a:buBlip>
          <a:blip r:embed="rId13"/>
        </a:buBlip>
        <a:defRPr sz="180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4pPr>
      <a:lvl5pPr marL="1079676" indent="-269919" algn="l" defTabSz="914127" rtl="0" eaLnBrk="1" latinLnBrk="0" hangingPunct="1">
        <a:spcBef>
          <a:spcPts val="300"/>
        </a:spcBef>
        <a:spcAft>
          <a:spcPts val="600"/>
        </a:spcAft>
        <a:buFontTx/>
        <a:buBlip>
          <a:blip r:embed="rId14"/>
        </a:buBlip>
        <a:defRPr sz="1800" kern="1200">
          <a:solidFill>
            <a:schemeClr val="bg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5pPr>
      <a:lvl6pPr marL="1079676" indent="-269919" algn="l" defTabSz="914127" rtl="0" eaLnBrk="1" latinLnBrk="0" hangingPunct="1">
        <a:spcBef>
          <a:spcPts val="300"/>
        </a:spcBef>
        <a:spcAft>
          <a:spcPts val="600"/>
        </a:spcAft>
        <a:buFontTx/>
        <a:buBlip>
          <a:blip r:embed="rId1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676" indent="-269919" algn="l" defTabSz="914127" rtl="0" eaLnBrk="1" latinLnBrk="0" hangingPunct="1">
        <a:spcBef>
          <a:spcPts val="300"/>
        </a:spcBef>
        <a:spcAft>
          <a:spcPts val="600"/>
        </a:spcAft>
        <a:buFontTx/>
        <a:buBlip>
          <a:blip r:embed="rId1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676" indent="-269919" algn="l" defTabSz="914127" rtl="0" eaLnBrk="1" latinLnBrk="0" hangingPunct="1">
        <a:spcBef>
          <a:spcPts val="300"/>
        </a:spcBef>
        <a:spcAft>
          <a:spcPts val="600"/>
        </a:spcAft>
        <a:buFontTx/>
        <a:buBlip>
          <a:blip r:embed="rId1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676" indent="-269919" algn="l" defTabSz="914127" rtl="0" eaLnBrk="1" latinLnBrk="0" hangingPunct="1">
        <a:spcBef>
          <a:spcPts val="300"/>
        </a:spcBef>
        <a:spcAft>
          <a:spcPts val="600"/>
        </a:spcAft>
        <a:buFontTx/>
        <a:buBlip>
          <a:blip r:embed="rId1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2" algn="l" defTabSz="914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7" algn="l" defTabSz="914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3" algn="l" defTabSz="914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8" algn="l" defTabSz="914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2" algn="l" defTabSz="9141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726">
          <p15:clr>
            <a:srgbClr val="F26B43"/>
          </p15:clr>
        </p15:guide>
        <p15:guide id="3" pos="3954">
          <p15:clr>
            <a:srgbClr val="F26B43"/>
          </p15:clr>
        </p15:guide>
        <p15:guide id="4" pos="7401">
          <p15:clr>
            <a:srgbClr val="5ACBF0"/>
          </p15:clr>
        </p15:guide>
        <p15:guide id="7" pos="279">
          <p15:clr>
            <a:srgbClr val="5ACBF0"/>
          </p15:clr>
        </p15:guide>
        <p15:guide id="10" orient="horz" pos="3861">
          <p15:clr>
            <a:srgbClr val="5ACBF0"/>
          </p15:clr>
        </p15:guide>
        <p15:guide id="13" pos="3841">
          <p15:clr>
            <a:srgbClr val="F26B43"/>
          </p15:clr>
        </p15:guide>
        <p15:guide id="15" orient="horz" pos="278">
          <p15:clr>
            <a:srgbClr val="F26B43"/>
          </p15:clr>
        </p15:guide>
        <p15:guide id="16" orient="horz" pos="4042">
          <p15:clr>
            <a:srgbClr val="F26B43"/>
          </p15:clr>
        </p15:guide>
        <p15:guide id="17" orient="horz" pos="98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C4C464A3-EED5-4811-A772-2E809DF45BD3}" type="datetime1">
              <a:rPr lang="en-US" smtClean="0"/>
              <a:t>11/1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4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/// Bayer Company Profile ///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5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empower - DO NOT DELETE!!!" hidden="1"/>
          <p:cNvSpPr/>
          <p:nvPr userDrawn="1">
            <p:custDataLst>
              <p:tags r:id="rId28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1800"/>
          </a:p>
        </p:txBody>
      </p:sp>
    </p:spTree>
    <p:extLst>
      <p:ext uri="{BB962C8B-B14F-4D97-AF65-F5344CB8AC3E}">
        <p14:creationId xmlns:p14="http://schemas.microsoft.com/office/powerpoint/2010/main" val="3625126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5" r:id="rId1"/>
    <p:sldLayoutId id="2147484396" r:id="rId2"/>
    <p:sldLayoutId id="2147484397" r:id="rId3"/>
    <p:sldLayoutId id="2147484398" r:id="rId4"/>
    <p:sldLayoutId id="2147484399" r:id="rId5"/>
    <p:sldLayoutId id="2147484400" r:id="rId6"/>
    <p:sldLayoutId id="2147484401" r:id="rId7"/>
    <p:sldLayoutId id="2147484402" r:id="rId8"/>
    <p:sldLayoutId id="2147484403" r:id="rId9"/>
    <p:sldLayoutId id="2147484404" r:id="rId10"/>
    <p:sldLayoutId id="2147484405" r:id="rId11"/>
    <p:sldLayoutId id="2147484406" r:id="rId12"/>
    <p:sldLayoutId id="2147484407" r:id="rId13"/>
    <p:sldLayoutId id="2147484408" r:id="rId14"/>
    <p:sldLayoutId id="2147484409" r:id="rId15"/>
    <p:sldLayoutId id="2147484410" r:id="rId16"/>
    <p:sldLayoutId id="2147484411" r:id="rId17"/>
    <p:sldLayoutId id="2147484412" r:id="rId18"/>
    <p:sldLayoutId id="2147484413" r:id="rId19"/>
    <p:sldLayoutId id="2147484414" r:id="rId20"/>
    <p:sldLayoutId id="2147484415" r:id="rId21"/>
    <p:sldLayoutId id="2147484416" r:id="rId22"/>
    <p:sldLayoutId id="2147484417" r:id="rId23"/>
    <p:sldLayoutId id="2147484418" r:id="rId24"/>
    <p:sldLayoutId id="2147484419" r:id="rId25"/>
    <p:sldLayoutId id="2147484420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218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218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69946" indent="-269946" algn="l" defTabSz="914218" rtl="0" eaLnBrk="1" latinLnBrk="0" hangingPunct="1">
        <a:spcBef>
          <a:spcPts val="300"/>
        </a:spcBef>
        <a:spcAft>
          <a:spcPts val="600"/>
        </a:spcAft>
        <a:buFontTx/>
        <a:buBlip>
          <a:blip r:embed="rId29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39892" indent="-269946" algn="l" defTabSz="914218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09838" indent="-269946" algn="l" defTabSz="914218" rtl="0" eaLnBrk="1" latinLnBrk="0" hangingPunct="1">
        <a:spcBef>
          <a:spcPts val="300"/>
        </a:spcBef>
        <a:spcAft>
          <a:spcPts val="600"/>
        </a:spcAft>
        <a:buFontTx/>
        <a:buBlip>
          <a:blip r:embed="rId3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79784" indent="-269946" algn="l" defTabSz="914218" rtl="0" eaLnBrk="1" latinLnBrk="0" hangingPunct="1">
        <a:spcBef>
          <a:spcPts val="300"/>
        </a:spcBef>
        <a:spcAft>
          <a:spcPts val="600"/>
        </a:spcAft>
        <a:buFontTx/>
        <a:buBlip>
          <a:blip r:embed="rId3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79784" indent="-269946" algn="l" defTabSz="914218" rtl="0" eaLnBrk="1" latinLnBrk="0" hangingPunct="1">
        <a:spcBef>
          <a:spcPts val="300"/>
        </a:spcBef>
        <a:spcAft>
          <a:spcPts val="600"/>
        </a:spcAft>
        <a:buFontTx/>
        <a:buBlip>
          <a:blip r:embed="rId3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784" indent="-269946" algn="l" defTabSz="914218" rtl="0" eaLnBrk="1" latinLnBrk="0" hangingPunct="1">
        <a:spcBef>
          <a:spcPts val="300"/>
        </a:spcBef>
        <a:spcAft>
          <a:spcPts val="600"/>
        </a:spcAft>
        <a:buFontTx/>
        <a:buBlip>
          <a:blip r:embed="rId3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784" indent="-269946" algn="l" defTabSz="914218" rtl="0" eaLnBrk="1" latinLnBrk="0" hangingPunct="1">
        <a:spcBef>
          <a:spcPts val="300"/>
        </a:spcBef>
        <a:spcAft>
          <a:spcPts val="600"/>
        </a:spcAft>
        <a:buFontTx/>
        <a:buBlip>
          <a:blip r:embed="rId3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784" indent="-269946" algn="l" defTabSz="914218" rtl="0" eaLnBrk="1" latinLnBrk="0" hangingPunct="1">
        <a:spcBef>
          <a:spcPts val="300"/>
        </a:spcBef>
        <a:spcAft>
          <a:spcPts val="600"/>
        </a:spcAft>
        <a:buFontTx/>
        <a:buBlip>
          <a:blip r:embed="rId32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jpe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3048C682-5AC9-AB78-29A9-3118E03D62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4673" y="6617518"/>
            <a:ext cx="8640000" cy="107986"/>
          </a:xfrm>
        </p:spPr>
        <p:txBody>
          <a:bodyPr/>
          <a:lstStyle/>
          <a:p>
            <a:pPr defTabSz="914309">
              <a:spcAft>
                <a:spcPts val="600"/>
              </a:spcAft>
            </a:pPr>
            <a:r>
              <a:rPr lang="en-US">
                <a:latin typeface="Arial"/>
                <a:cs typeface="Arial"/>
              </a:rPr>
              <a:t>/// Bayer Company Profile /// 2022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2CD6E6B8-716B-A67F-FE16-4E543AA8A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95845" y="6617518"/>
            <a:ext cx="392326" cy="107986"/>
          </a:xfrm>
        </p:spPr>
        <p:txBody>
          <a:bodyPr/>
          <a:lstStyle/>
          <a:p>
            <a:pPr defTabSz="914309">
              <a:spcAft>
                <a:spcPts val="600"/>
              </a:spcAft>
            </a:pPr>
            <a:fld id="{EEAD9179-7A6B-4268-BEB2-F3B8EB06115B}" type="slidenum">
              <a:rPr lang="en-US">
                <a:latin typeface="Arial"/>
                <a:cs typeface="Arial"/>
              </a:rPr>
              <a:pPr defTabSz="914309">
                <a:spcAft>
                  <a:spcPts val="600"/>
                </a:spcAft>
              </a:pPr>
              <a:t>1</a:t>
            </a:fld>
            <a:endParaRPr lang="en-US">
              <a:latin typeface="Arial"/>
              <a:cs typeface="Arial"/>
            </a:endParaRPr>
          </a:p>
        </p:txBody>
      </p:sp>
      <p:pic>
        <p:nvPicPr>
          <p:cNvPr id="3" name="Obraz 2" descr="Obraz zawierający tekst, owoce, zrzut ekranu, Grupa żywieniowa&#10;&#10;Opis wygenerowany automatycznie">
            <a:extLst>
              <a:ext uri="{FF2B5EF4-FFF2-40B4-BE49-F238E27FC236}">
                <a16:creationId xmlns:a16="http://schemas.microsoft.com/office/drawing/2014/main" id="{6595D9D5-5F48-9901-0808-8C8C125958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46251" y="-37232"/>
            <a:ext cx="13123652" cy="6857107"/>
          </a:xfrm>
          <a:prstGeom prst="rect">
            <a:avLst/>
          </a:prstGeom>
          <a:noFill/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E2B1614-6C36-704D-78DA-3FAC79783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4673" y="6617518"/>
            <a:ext cx="8640000" cy="107986"/>
          </a:xfrm>
        </p:spPr>
        <p:txBody>
          <a:bodyPr/>
          <a:lstStyle/>
          <a:p>
            <a:pPr defTabSz="914309">
              <a:spcAft>
                <a:spcPts val="600"/>
              </a:spcAft>
            </a:pPr>
            <a:r>
              <a:rPr lang="en-US">
                <a:latin typeface="Arial"/>
                <a:cs typeface="Arial"/>
              </a:rPr>
              <a:t>/// Bayer Company Profile /// 2022</a:t>
            </a:r>
          </a:p>
        </p:txBody>
      </p:sp>
      <p:sp>
        <p:nvSpPr>
          <p:cNvPr id="9" name="Slide Number Placeholder 2" hidden="1">
            <a:extLst>
              <a:ext uri="{FF2B5EF4-FFF2-40B4-BE49-F238E27FC236}">
                <a16:creationId xmlns:a16="http://schemas.microsoft.com/office/drawing/2014/main" id="{1EA66135-31BA-F2E5-5851-11865E048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95845" y="6617518"/>
            <a:ext cx="392326" cy="107986"/>
          </a:xfrm>
        </p:spPr>
        <p:txBody>
          <a:bodyPr/>
          <a:lstStyle/>
          <a:p>
            <a:pPr defTabSz="914309">
              <a:spcAft>
                <a:spcPts val="600"/>
              </a:spcAft>
            </a:pPr>
            <a:fld id="{EEAD9179-7A6B-4268-BEB2-F3B8EB06115B}" type="slidenum">
              <a:rPr lang="en-US">
                <a:latin typeface="Arial"/>
                <a:cs typeface="Arial"/>
              </a:rPr>
              <a:pPr defTabSz="914309">
                <a:spcAft>
                  <a:spcPts val="600"/>
                </a:spcAft>
              </a:pPr>
              <a:t>1</a:t>
            </a:fld>
            <a:endParaRPr lang="en-US">
              <a:latin typeface="Arial"/>
              <a:cs typeface="Arial"/>
            </a:endParaRPr>
          </a:p>
        </p:txBody>
      </p:sp>
      <p:pic>
        <p:nvPicPr>
          <p:cNvPr id="5" name="Obraz 2" descr="Obraz zawierający tekst, owoce, zrzut ekranu, Grupa żywieniowa&#10;&#10;Opis wygenerowany automatycznie">
            <a:extLst>
              <a:ext uri="{FF2B5EF4-FFF2-40B4-BE49-F238E27FC236}">
                <a16:creationId xmlns:a16="http://schemas.microsoft.com/office/drawing/2014/main" id="{45E2C9CA-1A6D-5B70-888B-54B96308B9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7530" t="68213" r="667" b="5722"/>
          <a:stretch/>
        </p:blipFill>
        <p:spPr>
          <a:xfrm>
            <a:off x="9570845" y="4730856"/>
            <a:ext cx="2861389" cy="17872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0572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4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ównoległobok 10">
            <a:extLst>
              <a:ext uri="{FF2B5EF4-FFF2-40B4-BE49-F238E27FC236}">
                <a16:creationId xmlns:a16="http://schemas.microsoft.com/office/drawing/2014/main" id="{51A3C1F3-CDF1-6F78-31EB-65F14503FD59}"/>
              </a:ext>
            </a:extLst>
          </p:cNvPr>
          <p:cNvSpPr/>
          <p:nvPr/>
        </p:nvSpPr>
        <p:spPr bwMode="gray">
          <a:xfrm>
            <a:off x="5944290" y="447"/>
            <a:ext cx="9372321" cy="6857107"/>
          </a:xfrm>
          <a:prstGeom prst="parallelogram">
            <a:avLst/>
          </a:prstGeom>
          <a:blipFill dpi="0" rotWithShape="1">
            <a:blip r:embed="rId3"/>
            <a:srcRect/>
            <a:tile tx="-396875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/>
            <a:endParaRPr lang="pl-PL">
              <a:solidFill>
                <a:srgbClr val="FFFFFF"/>
              </a:solidFill>
              <a:latin typeface="Roboto Light"/>
            </a:endParaRPr>
          </a:p>
        </p:txBody>
      </p:sp>
      <p:sp>
        <p:nvSpPr>
          <p:cNvPr id="20" name="Równoległobok 19">
            <a:extLst>
              <a:ext uri="{FF2B5EF4-FFF2-40B4-BE49-F238E27FC236}">
                <a16:creationId xmlns:a16="http://schemas.microsoft.com/office/drawing/2014/main" id="{D053C4DF-F06A-361A-9C79-03AAA5D69369}"/>
              </a:ext>
            </a:extLst>
          </p:cNvPr>
          <p:cNvSpPr/>
          <p:nvPr/>
        </p:nvSpPr>
        <p:spPr bwMode="gray">
          <a:xfrm>
            <a:off x="7506159" y="952835"/>
            <a:ext cx="5069052" cy="604748"/>
          </a:xfrm>
          <a:prstGeom prst="parallelogram">
            <a:avLst/>
          </a:prstGeom>
          <a:solidFill>
            <a:srgbClr val="00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/>
            <a:endParaRPr lang="pl-PL">
              <a:solidFill>
                <a:srgbClr val="FFFFFF"/>
              </a:solidFill>
              <a:latin typeface="Roboto Light"/>
            </a:endParaRPr>
          </a:p>
        </p:txBody>
      </p:sp>
      <p:sp>
        <p:nvSpPr>
          <p:cNvPr id="10" name="Tytuł 9">
            <a:extLst>
              <a:ext uri="{FF2B5EF4-FFF2-40B4-BE49-F238E27FC236}">
                <a16:creationId xmlns:a16="http://schemas.microsoft.com/office/drawing/2014/main" id="{AFF41DE3-3CB7-6A55-F6D5-0F958C9FB3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9878" y="441715"/>
            <a:ext cx="6426495" cy="830889"/>
          </a:xfrm>
        </p:spPr>
        <p:txBody>
          <a:bodyPr/>
          <a:lstStyle/>
          <a:p>
            <a:r>
              <a:rPr lang="en-AU" sz="4000" baseline="30000" err="1">
                <a:solidFill>
                  <a:srgbClr val="89D329"/>
                </a:solidFill>
                <a:latin typeface="HelveticaNeueLT Pro 45 Lt" panose="020B0403020202020204" pitchFamily="34" charset="-18"/>
              </a:rPr>
              <a:t>emPOWER</a:t>
            </a:r>
            <a:r>
              <a:rPr lang="en-AU" sz="4000" baseline="30000">
                <a:solidFill>
                  <a:srgbClr val="89D329"/>
                </a:solidFill>
                <a:latin typeface="HelveticaNeueLT Pro 45 Lt" panose="020B0403020202020204" pitchFamily="34" charset="-18"/>
              </a:rPr>
              <a:t> Climate: </a:t>
            </a:r>
            <a:r>
              <a:rPr lang="en-AU" sz="4000" baseline="30000">
                <a:solidFill>
                  <a:srgbClr val="D30F4B"/>
                </a:solidFill>
                <a:latin typeface="HelveticaNeueLT Pro 55 Roman" panose="020B0604020202020204" pitchFamily="34" charset="-18"/>
              </a:rPr>
              <a:t>S</a:t>
            </a:r>
            <a:r>
              <a:rPr lang="en-AU" sz="4000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u</a:t>
            </a:r>
            <a:r>
              <a:rPr lang="en-AU" sz="4000" baseline="30000">
                <a:solidFill>
                  <a:srgbClr val="00BCFF"/>
                </a:solidFill>
                <a:latin typeface="HelveticaNeueLT Pro 55 Roman" panose="020B0604020202020204" pitchFamily="34" charset="-18"/>
              </a:rPr>
              <a:t>s</a:t>
            </a:r>
            <a:r>
              <a:rPr lang="en-AU" sz="4000" baseline="30000">
                <a:solidFill>
                  <a:srgbClr val="D30F4B"/>
                </a:solidFill>
                <a:latin typeface="HelveticaNeueLT Pro 55 Roman" panose="020B0604020202020204" pitchFamily="34" charset="-18"/>
              </a:rPr>
              <a:t>t</a:t>
            </a:r>
            <a:r>
              <a:rPr lang="en-AU" sz="4000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a</a:t>
            </a:r>
            <a:r>
              <a:rPr lang="en-AU" sz="4000" baseline="30000">
                <a:solidFill>
                  <a:srgbClr val="00BCFF"/>
                </a:solidFill>
                <a:latin typeface="HelveticaNeueLT Pro 55 Roman" panose="020B0604020202020204" pitchFamily="34" charset="-18"/>
              </a:rPr>
              <a:t>i</a:t>
            </a:r>
            <a:r>
              <a:rPr lang="en-AU" sz="4000" baseline="30000">
                <a:solidFill>
                  <a:srgbClr val="D30F4B"/>
                </a:solidFill>
                <a:latin typeface="HelveticaNeueLT Pro 55 Roman" panose="020B0604020202020204" pitchFamily="34" charset="-18"/>
              </a:rPr>
              <a:t>n</a:t>
            </a:r>
            <a:r>
              <a:rPr lang="en-AU" sz="4000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a</a:t>
            </a:r>
            <a:r>
              <a:rPr lang="en-AU" sz="4000" baseline="30000">
                <a:solidFill>
                  <a:srgbClr val="00BCFF"/>
                </a:solidFill>
                <a:latin typeface="HelveticaNeueLT Pro 55 Roman" panose="020B0604020202020204" pitchFamily="34" charset="-18"/>
              </a:rPr>
              <a:t>b</a:t>
            </a:r>
            <a:r>
              <a:rPr lang="en-AU" sz="4000" baseline="30000">
                <a:solidFill>
                  <a:srgbClr val="D30F4B"/>
                </a:solidFill>
                <a:latin typeface="HelveticaNeueLT Pro 55 Roman" panose="020B0604020202020204" pitchFamily="34" charset="-18"/>
              </a:rPr>
              <a:t>i</a:t>
            </a:r>
            <a:r>
              <a:rPr lang="en-AU" sz="4000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l</a:t>
            </a:r>
            <a:r>
              <a:rPr lang="en-AU" sz="4000" baseline="30000">
                <a:solidFill>
                  <a:srgbClr val="00BCFF"/>
                </a:solidFill>
                <a:latin typeface="HelveticaNeueLT Pro 55 Roman" panose="020B0604020202020204" pitchFamily="34" charset="-18"/>
              </a:rPr>
              <a:t>i</a:t>
            </a:r>
            <a:r>
              <a:rPr lang="en-AU" sz="4000" baseline="30000">
                <a:solidFill>
                  <a:srgbClr val="D30F4B"/>
                </a:solidFill>
                <a:latin typeface="HelveticaNeueLT Pro 55 Roman" panose="020B0604020202020204" pitchFamily="34" charset="-18"/>
              </a:rPr>
              <a:t>t</a:t>
            </a:r>
            <a:r>
              <a:rPr lang="en-AU" sz="4000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y </a:t>
            </a:r>
            <a:r>
              <a:rPr lang="en-AU" sz="4000" baseline="30000">
                <a:solidFill>
                  <a:srgbClr val="00BCFF"/>
                </a:solidFill>
                <a:latin typeface="HelveticaNeueLT Pro 55 Roman" panose="020B0604020202020204" pitchFamily="34" charset="-18"/>
              </a:rPr>
              <a:t>T</a:t>
            </a:r>
            <a:r>
              <a:rPr lang="en-AU" sz="4000" baseline="30000">
                <a:solidFill>
                  <a:srgbClr val="D30F4B"/>
                </a:solidFill>
                <a:latin typeface="HelveticaNeueLT Pro 55 Roman" panose="020B0604020202020204" pitchFamily="34" charset="-18"/>
              </a:rPr>
              <a:t>a</a:t>
            </a:r>
            <a:r>
              <a:rPr lang="en-AU" sz="4000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l</a:t>
            </a:r>
            <a:r>
              <a:rPr lang="en-AU" sz="4000" baseline="30000">
                <a:solidFill>
                  <a:srgbClr val="00BCFF"/>
                </a:solidFill>
                <a:latin typeface="HelveticaNeueLT Pro 55 Roman" panose="020B0604020202020204" pitchFamily="34" charset="-18"/>
              </a:rPr>
              <a:t>k</a:t>
            </a:r>
            <a:r>
              <a:rPr lang="en-AU" sz="4000" baseline="30000">
                <a:solidFill>
                  <a:srgbClr val="D30F4B"/>
                </a:solidFill>
                <a:latin typeface="HelveticaNeueLT Pro 55 Roman" panose="020B0604020202020204" pitchFamily="34" charset="-18"/>
              </a:rPr>
              <a:t>s</a:t>
            </a:r>
            <a:endParaRPr lang="en-AU" sz="4000"/>
          </a:p>
        </p:txBody>
      </p:sp>
      <p:cxnSp>
        <p:nvCxnSpPr>
          <p:cNvPr id="13" name="Łącznik prosty 12">
            <a:extLst>
              <a:ext uri="{FF2B5EF4-FFF2-40B4-BE49-F238E27FC236}">
                <a16:creationId xmlns:a16="http://schemas.microsoft.com/office/drawing/2014/main" id="{CBC0CE18-DA85-7B12-6D92-E5E1CC698DA1}"/>
              </a:ext>
            </a:extLst>
          </p:cNvPr>
          <p:cNvCxnSpPr>
            <a:cxnSpLocks/>
          </p:cNvCxnSpPr>
          <p:nvPr/>
        </p:nvCxnSpPr>
        <p:spPr bwMode="gray">
          <a:xfrm flipH="1">
            <a:off x="5752948" y="-115285"/>
            <a:ext cx="1955866" cy="7696163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Łącznik prosty 13">
            <a:extLst>
              <a:ext uri="{FF2B5EF4-FFF2-40B4-BE49-F238E27FC236}">
                <a16:creationId xmlns:a16="http://schemas.microsoft.com/office/drawing/2014/main" id="{0E1607E3-CAB4-6DEC-4FAB-9AE5D7699DFA}"/>
              </a:ext>
            </a:extLst>
          </p:cNvPr>
          <p:cNvCxnSpPr>
            <a:cxnSpLocks/>
          </p:cNvCxnSpPr>
          <p:nvPr/>
        </p:nvCxnSpPr>
        <p:spPr bwMode="gray">
          <a:xfrm flipH="1">
            <a:off x="5556204" y="-335176"/>
            <a:ext cx="2546099" cy="7788748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ole tekstowe 18">
            <a:extLst>
              <a:ext uri="{FF2B5EF4-FFF2-40B4-BE49-F238E27FC236}">
                <a16:creationId xmlns:a16="http://schemas.microsoft.com/office/drawing/2014/main" id="{FEC9C121-1475-8CB9-A3C5-E35BE87241D6}"/>
              </a:ext>
            </a:extLst>
          </p:cNvPr>
          <p:cNvSpPr txBox="1"/>
          <p:nvPr/>
        </p:nvSpPr>
        <p:spPr bwMode="gray">
          <a:xfrm>
            <a:off x="8237225" y="1075899"/>
            <a:ext cx="4703806" cy="50263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defTabSz="914309"/>
            <a:r>
              <a:rPr lang="en-US" sz="2000" b="1" i="1" baseline="30000">
                <a:solidFill>
                  <a:srgbClr val="FFFFFF"/>
                </a:solidFill>
                <a:latin typeface="HelveticaNeueLT Pro 65 Md" panose="020B0604020202020204" pitchFamily="34" charset="-18"/>
              </a:rPr>
              <a:t>FOOD AND NUTRITION FOR HEALTH </a:t>
            </a:r>
            <a:br>
              <a:rPr lang="en-US" sz="2000" b="1" i="1" baseline="30000">
                <a:solidFill>
                  <a:srgbClr val="FFFFFF"/>
                </a:solidFill>
                <a:latin typeface="HelveticaNeueLT Pro 65 Md" panose="020B0604020202020204" pitchFamily="34" charset="-18"/>
              </a:rPr>
            </a:br>
            <a:r>
              <a:rPr lang="en-US" sz="2000" b="1" i="1" baseline="30000">
                <a:solidFill>
                  <a:srgbClr val="FFFFFF"/>
                </a:solidFill>
                <a:latin typeface="HelveticaNeueLT Pro 65 Md" panose="020B0604020202020204" pitchFamily="34" charset="-18"/>
              </a:rPr>
              <a:t>AND CLIMATE </a:t>
            </a:r>
            <a:r>
              <a:rPr lang="en-US" sz="2000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– AGENDA</a:t>
            </a:r>
          </a:p>
        </p:txBody>
      </p:sp>
      <p:sp>
        <p:nvSpPr>
          <p:cNvPr id="22" name="pole tekstowe 21">
            <a:extLst>
              <a:ext uri="{FF2B5EF4-FFF2-40B4-BE49-F238E27FC236}">
                <a16:creationId xmlns:a16="http://schemas.microsoft.com/office/drawing/2014/main" id="{7B689E11-AAF8-D2F4-A500-7BB32420C6A2}"/>
              </a:ext>
            </a:extLst>
          </p:cNvPr>
          <p:cNvSpPr txBox="1"/>
          <p:nvPr/>
        </p:nvSpPr>
        <p:spPr bwMode="gray">
          <a:xfrm>
            <a:off x="2002953" y="1234987"/>
            <a:ext cx="5375351" cy="55974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09">
              <a:lnSpc>
                <a:spcPct val="150000"/>
              </a:lnSpc>
            </a:pPr>
            <a:r>
              <a:rPr lang="en-AU" b="1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Welcome, introduction, opening speech and presentation</a:t>
            </a:r>
            <a:endParaRPr lang="en-AU" b="1" baseline="30000">
              <a:solidFill>
                <a:srgbClr val="000000"/>
              </a:solidFill>
              <a:latin typeface="HelveticaNeueLT Pro 55 Roman" panose="020B0604020202020204" pitchFamily="34" charset="-18"/>
            </a:endParaRPr>
          </a:p>
          <a:p>
            <a:pPr marL="285721" indent="-285721" defTabSz="914309">
              <a:lnSpc>
                <a:spcPct val="150000"/>
              </a:lnSpc>
              <a:buBlip>
                <a:blip r:embed="rId4"/>
              </a:buBlip>
            </a:pPr>
            <a:r>
              <a:rPr lang="en-AU" b="1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Holger Pfeiffer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– CEO of Bayer Central Eastern Europe</a:t>
            </a:r>
          </a:p>
          <a:p>
            <a:pPr marL="285721" indent="-285721" defTabSz="914309">
              <a:lnSpc>
                <a:spcPct val="150000"/>
              </a:lnSpc>
              <a:buBlip>
                <a:blip r:embed="rId4"/>
              </a:buBlip>
            </a:pPr>
            <a:r>
              <a:rPr lang="en-AU" b="1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Kamil </a:t>
            </a:r>
            <a:r>
              <a:rPr lang="en-AU" b="1" i="1" baseline="30000" err="1">
                <a:solidFill>
                  <a:srgbClr val="FFFFFF"/>
                </a:solidFill>
                <a:latin typeface="HelveticaNeueLT Pro 55 Roman" panose="020B0604020202020204" pitchFamily="34" charset="-18"/>
              </a:rPr>
              <a:t>Wyszkowski</a:t>
            </a:r>
            <a:r>
              <a:rPr lang="en-AU" b="1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– Executive Director UN Global </a:t>
            </a:r>
            <a:r>
              <a:rPr lang="pl-PL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Compact Network Poland</a:t>
            </a:r>
            <a:endParaRPr lang="en-AU" baseline="30000">
              <a:solidFill>
                <a:srgbClr val="FFFFFF"/>
              </a:solidFill>
              <a:latin typeface="HelveticaNeueLT Pro 45 Lt" panose="020B0403020202020204" pitchFamily="34" charset="-18"/>
            </a:endParaRPr>
          </a:p>
          <a:p>
            <a:pPr defTabSz="914309">
              <a:lnSpc>
                <a:spcPct val="150000"/>
              </a:lnSpc>
            </a:pPr>
            <a:r>
              <a:rPr lang="en-AU" b="1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Panel discussion of experts</a:t>
            </a:r>
          </a:p>
          <a:p>
            <a:pPr marL="285721" indent="-285721" defTabSz="914309">
              <a:lnSpc>
                <a:spcPct val="150000"/>
              </a:lnSpc>
              <a:buBlip>
                <a:blip r:embed="rId4"/>
              </a:buBlip>
            </a:pPr>
            <a:r>
              <a:rPr lang="en-AU" b="1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Joanna </a:t>
            </a:r>
            <a:r>
              <a:rPr lang="en-AU" b="1" i="1" baseline="30000" err="1">
                <a:solidFill>
                  <a:srgbClr val="FFFFFF"/>
                </a:solidFill>
                <a:latin typeface="HelveticaNeueLT Pro 55 Roman" panose="020B0604020202020204" pitchFamily="34" charset="-18"/>
              </a:rPr>
              <a:t>Gałązka</a:t>
            </a:r>
            <a:r>
              <a:rPr lang="en-AU" b="1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– Polish Crop Protection Association</a:t>
            </a:r>
          </a:p>
          <a:p>
            <a:pPr marL="285721" indent="-285721" defTabSz="914309">
              <a:lnSpc>
                <a:spcPct val="150000"/>
              </a:lnSpc>
              <a:buBlip>
                <a:blip r:embed="rId4"/>
              </a:buBlip>
            </a:pPr>
            <a:r>
              <a:rPr lang="en-AU" b="1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Holger Pfeiffer</a:t>
            </a:r>
            <a:r>
              <a:rPr lang="en-AU" b="1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– CEO of Bayer CEE</a:t>
            </a:r>
          </a:p>
          <a:p>
            <a:pPr marL="285721" indent="-285721" defTabSz="914309">
              <a:lnSpc>
                <a:spcPct val="150000"/>
              </a:lnSpc>
              <a:buBlip>
                <a:blip r:embed="rId4"/>
              </a:buBlip>
            </a:pPr>
            <a:r>
              <a:rPr lang="en-AU" b="1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Christian </a:t>
            </a:r>
            <a:r>
              <a:rPr lang="en-AU" b="1" i="1" baseline="30000" err="1">
                <a:solidFill>
                  <a:srgbClr val="FFFFFF"/>
                </a:solidFill>
                <a:latin typeface="HelveticaNeueLT Pro 55 Roman" panose="020B0604020202020204" pitchFamily="34" charset="-18"/>
              </a:rPr>
              <a:t>Sarto</a:t>
            </a:r>
            <a:r>
              <a:rPr lang="en-AU" b="1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– Head CEEC Consumer Health</a:t>
            </a:r>
          </a:p>
          <a:p>
            <a:pPr marL="285721" indent="-285721" defTabSz="914309">
              <a:lnSpc>
                <a:spcPct val="150000"/>
              </a:lnSpc>
              <a:buBlip>
                <a:blip r:embed="rId4"/>
              </a:buBlip>
            </a:pPr>
            <a:r>
              <a:rPr lang="en-AU" b="1" i="1" baseline="30000" err="1">
                <a:solidFill>
                  <a:srgbClr val="FFFFFF"/>
                </a:solidFill>
                <a:latin typeface="HelveticaNeueLT Pro 55 Roman" panose="020B0604020202020204" pitchFamily="34" charset="-18"/>
              </a:rPr>
              <a:t>Paweł</a:t>
            </a:r>
            <a:r>
              <a:rPr lang="en-AU" b="1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 </a:t>
            </a:r>
            <a:r>
              <a:rPr lang="en-AU" b="1" i="1" baseline="30000" err="1">
                <a:solidFill>
                  <a:srgbClr val="FFFFFF"/>
                </a:solidFill>
                <a:latin typeface="HelveticaNeueLT Pro 55 Roman" panose="020B0604020202020204" pitchFamily="34" charset="-18"/>
              </a:rPr>
              <a:t>Szóstak</a:t>
            </a:r>
            <a:r>
              <a:rPr lang="en-AU" b="1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– Market Development CEE</a:t>
            </a:r>
            <a:r>
              <a:rPr lang="pl-PL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EMEA Market </a:t>
            </a:r>
            <a:r>
              <a:rPr lang="pl-PL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 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Development Community Lead</a:t>
            </a:r>
          </a:p>
          <a:p>
            <a:pPr marL="285721" indent="-285721" defTabSz="914309">
              <a:lnSpc>
                <a:spcPct val="150000"/>
              </a:lnSpc>
              <a:buBlip>
                <a:blip r:embed="rId4"/>
              </a:buBlip>
            </a:pPr>
            <a:r>
              <a:rPr lang="en-AU" b="1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Kamil </a:t>
            </a:r>
            <a:r>
              <a:rPr lang="en-AU" b="1" i="1" baseline="30000" err="1">
                <a:solidFill>
                  <a:srgbClr val="FFFFFF"/>
                </a:solidFill>
                <a:latin typeface="HelveticaNeueLT Pro 55 Roman" panose="020B0604020202020204" pitchFamily="34" charset="-18"/>
              </a:rPr>
              <a:t>Wyszkowski</a:t>
            </a:r>
            <a:r>
              <a:rPr lang="en-AU" b="1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– Executive Director UN</a:t>
            </a:r>
            <a:r>
              <a:rPr lang="pl-PL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GC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Network </a:t>
            </a:r>
            <a:r>
              <a:rPr lang="pl-PL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             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Poland</a:t>
            </a:r>
          </a:p>
          <a:p>
            <a:pPr marL="285721" indent="-285721" defTabSz="914309">
              <a:lnSpc>
                <a:spcPct val="150000"/>
              </a:lnSpc>
              <a:buBlip>
                <a:blip r:embed="rId4"/>
              </a:buBlip>
            </a:pPr>
            <a:r>
              <a:rPr lang="en-AU" b="1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Tymon </a:t>
            </a:r>
            <a:r>
              <a:rPr lang="en-AU" b="1" i="1" baseline="30000" err="1">
                <a:solidFill>
                  <a:srgbClr val="FFFFFF"/>
                </a:solidFill>
                <a:latin typeface="HelveticaNeueLT Pro 55 Roman" panose="020B0604020202020204" pitchFamily="34" charset="-18"/>
              </a:rPr>
              <a:t>Zieliński</a:t>
            </a:r>
            <a:r>
              <a:rPr lang="en-AU" b="1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– Institute of Oceanology, PAN</a:t>
            </a:r>
            <a:endParaRPr lang="en-AU" baseline="30000">
              <a:solidFill>
                <a:srgbClr val="FFFFFF"/>
              </a:solidFill>
              <a:latin typeface="HelveticaNeueLT Pro 55 Roman" panose="020B0604020202020204" pitchFamily="34" charset="-18"/>
            </a:endParaRPr>
          </a:p>
          <a:p>
            <a:pPr defTabSz="914309">
              <a:lnSpc>
                <a:spcPct val="150000"/>
              </a:lnSpc>
            </a:pPr>
            <a:r>
              <a:rPr lang="en-AU" b="1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Coffee break</a:t>
            </a:r>
          </a:p>
          <a:p>
            <a:pPr defTabSz="914309">
              <a:lnSpc>
                <a:spcPct val="150000"/>
              </a:lnSpc>
            </a:pPr>
            <a:r>
              <a:rPr lang="en-AU" b="1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Session with social media influencers</a:t>
            </a:r>
          </a:p>
          <a:p>
            <a:pPr marL="285721" indent="-285721" defTabSz="914309">
              <a:lnSpc>
                <a:spcPct val="150000"/>
              </a:lnSpc>
              <a:buBlip>
                <a:blip r:embed="rId4"/>
              </a:buBlip>
            </a:pPr>
            <a:r>
              <a:rPr lang="en-AU" b="1" i="1" baseline="30000" err="1">
                <a:solidFill>
                  <a:srgbClr val="FFFFFF"/>
                </a:solidFill>
                <a:latin typeface="HelveticaNeueLT Pro 55 Roman" panose="020B0604020202020204" pitchFamily="34" charset="-18"/>
              </a:rPr>
              <a:t>Doktor</a:t>
            </a:r>
            <a:r>
              <a:rPr lang="en-AU" b="1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 z </a:t>
            </a:r>
            <a:r>
              <a:rPr lang="en-AU" b="1" i="1" baseline="30000" err="1">
                <a:solidFill>
                  <a:srgbClr val="FFFFFF"/>
                </a:solidFill>
                <a:latin typeface="HelveticaNeueLT Pro 55 Roman" panose="020B0604020202020204" pitchFamily="34" charset="-18"/>
              </a:rPr>
              <a:t>TikToka</a:t>
            </a:r>
            <a:r>
              <a:rPr lang="en-AU" b="1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– Konrad </a:t>
            </a:r>
            <a:r>
              <a:rPr lang="en-AU" i="1" baseline="30000" err="1">
                <a:solidFill>
                  <a:srgbClr val="FFFFFF"/>
                </a:solidFill>
                <a:latin typeface="HelveticaNeueLT Pro 45 Lt" panose="020B0403020202020204" pitchFamily="34" charset="-18"/>
              </a:rPr>
              <a:t>Skotnicki</a:t>
            </a:r>
            <a:endParaRPr lang="en-AU" i="1" baseline="30000">
              <a:solidFill>
                <a:srgbClr val="FFFFFF"/>
              </a:solidFill>
              <a:latin typeface="HelveticaNeueLT Pro 45 Lt" panose="020B0403020202020204" pitchFamily="34" charset="-18"/>
            </a:endParaRPr>
          </a:p>
          <a:p>
            <a:pPr marL="285721" indent="-285721" defTabSz="914309">
              <a:lnSpc>
                <a:spcPct val="150000"/>
              </a:lnSpc>
              <a:buBlip>
                <a:blip r:embed="rId4"/>
              </a:buBlip>
            </a:pPr>
            <a:r>
              <a:rPr lang="en-AU" b="1" i="1" baseline="30000">
                <a:solidFill>
                  <a:srgbClr val="FFFFFF"/>
                </a:solidFill>
                <a:latin typeface="HelveticaNeueLT Pro 55 Roman" panose="020B0604020202020204" pitchFamily="34" charset="-18"/>
              </a:rPr>
              <a:t>Janina Daily</a:t>
            </a:r>
            <a:r>
              <a:rPr lang="en-AU" b="1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 </a:t>
            </a:r>
            <a:r>
              <a:rPr lang="en-AU" i="1" baseline="30000">
                <a:solidFill>
                  <a:srgbClr val="FFFFFF"/>
                </a:solidFill>
                <a:latin typeface="HelveticaNeueLT Pro 45 Lt" panose="020B0403020202020204" pitchFamily="34" charset="-18"/>
              </a:rPr>
              <a:t>– Janina </a:t>
            </a:r>
            <a:r>
              <a:rPr lang="en-AU" i="1" baseline="30000" err="1">
                <a:solidFill>
                  <a:srgbClr val="FFFFFF"/>
                </a:solidFill>
                <a:latin typeface="HelveticaNeueLT Pro 45 Lt" panose="020B0403020202020204" pitchFamily="34" charset="-18"/>
              </a:rPr>
              <a:t>Bąk</a:t>
            </a:r>
            <a:endParaRPr lang="en-AU" baseline="30000">
              <a:solidFill>
                <a:srgbClr val="FFFFFF"/>
              </a:solidFill>
              <a:latin typeface="HelveticaNeueLT Pro 55 Roman" panose="020B0604020202020204" pitchFamily="34" charset="-18"/>
            </a:endParaRPr>
          </a:p>
          <a:p>
            <a:pPr defTabSz="914309">
              <a:lnSpc>
                <a:spcPct val="150000"/>
              </a:lnSpc>
            </a:pPr>
            <a:r>
              <a:rPr lang="en-AU" b="1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Coffee break</a:t>
            </a:r>
          </a:p>
          <a:p>
            <a:pPr defTabSz="914309">
              <a:lnSpc>
                <a:spcPct val="150000"/>
              </a:lnSpc>
            </a:pPr>
            <a:r>
              <a:rPr lang="en-AU" b="1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Interactive workshop in teams with coaches </a:t>
            </a:r>
          </a:p>
          <a:p>
            <a:pPr defTabSz="914309">
              <a:lnSpc>
                <a:spcPct val="150000"/>
              </a:lnSpc>
            </a:pPr>
            <a:r>
              <a:rPr lang="en-AU" b="1" baseline="30000">
                <a:solidFill>
                  <a:srgbClr val="89D329"/>
                </a:solidFill>
                <a:latin typeface="HelveticaNeueLT Pro 55 Roman" panose="020B0604020202020204" pitchFamily="34" charset="-18"/>
              </a:rPr>
              <a:t>Lunch</a:t>
            </a:r>
          </a:p>
        </p:txBody>
      </p:sp>
      <p:sp>
        <p:nvSpPr>
          <p:cNvPr id="26" name="pole tekstowe 25">
            <a:extLst>
              <a:ext uri="{FF2B5EF4-FFF2-40B4-BE49-F238E27FC236}">
                <a16:creationId xmlns:a16="http://schemas.microsoft.com/office/drawing/2014/main" id="{D7BCBDF8-C5CC-0DA7-8994-762368DC386B}"/>
              </a:ext>
            </a:extLst>
          </p:cNvPr>
          <p:cNvSpPr txBox="1"/>
          <p:nvPr/>
        </p:nvSpPr>
        <p:spPr bwMode="gray">
          <a:xfrm>
            <a:off x="983329" y="1280148"/>
            <a:ext cx="1019624" cy="276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09"/>
            <a:r>
              <a:rPr lang="pl-PL" i="1" baseline="30000">
                <a:solidFill>
                  <a:srgbClr val="89D329"/>
                </a:solidFill>
                <a:latin typeface="HelveticaNeueLT Pro 45 Lt" panose="020B0403020202020204" pitchFamily="34" charset="-18"/>
              </a:rPr>
              <a:t>10:15-11:00</a:t>
            </a:r>
          </a:p>
        </p:txBody>
      </p:sp>
      <p:sp>
        <p:nvSpPr>
          <p:cNvPr id="27" name="pole tekstowe 26">
            <a:extLst>
              <a:ext uri="{FF2B5EF4-FFF2-40B4-BE49-F238E27FC236}">
                <a16:creationId xmlns:a16="http://schemas.microsoft.com/office/drawing/2014/main" id="{E3B16ECD-06A8-5405-7005-D296842EBE68}"/>
              </a:ext>
            </a:extLst>
          </p:cNvPr>
          <p:cNvSpPr txBox="1"/>
          <p:nvPr/>
        </p:nvSpPr>
        <p:spPr bwMode="gray">
          <a:xfrm>
            <a:off x="983328" y="2396275"/>
            <a:ext cx="1019624" cy="276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09"/>
            <a:r>
              <a:rPr lang="pl-PL" i="1" baseline="30000">
                <a:solidFill>
                  <a:srgbClr val="89D329"/>
                </a:solidFill>
                <a:latin typeface="HelveticaNeueLT Pro 45 Lt" panose="020B0403020202020204" pitchFamily="34" charset="-18"/>
              </a:rPr>
              <a:t>11:00-11:35</a:t>
            </a:r>
          </a:p>
        </p:txBody>
      </p:sp>
      <p:sp>
        <p:nvSpPr>
          <p:cNvPr id="28" name="pole tekstowe 27">
            <a:extLst>
              <a:ext uri="{FF2B5EF4-FFF2-40B4-BE49-F238E27FC236}">
                <a16:creationId xmlns:a16="http://schemas.microsoft.com/office/drawing/2014/main" id="{9C177A7A-6FD2-D702-0C01-C240C3616480}"/>
              </a:ext>
            </a:extLst>
          </p:cNvPr>
          <p:cNvSpPr txBox="1"/>
          <p:nvPr/>
        </p:nvSpPr>
        <p:spPr bwMode="gray">
          <a:xfrm>
            <a:off x="983329" y="4873406"/>
            <a:ext cx="1019624" cy="276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09"/>
            <a:r>
              <a:rPr lang="pl-PL" i="1" baseline="30000">
                <a:solidFill>
                  <a:srgbClr val="89D329"/>
                </a:solidFill>
                <a:latin typeface="HelveticaNeueLT Pro 45 Lt" panose="020B0403020202020204" pitchFamily="34" charset="-18"/>
              </a:rPr>
              <a:t>11:35-11:50</a:t>
            </a:r>
          </a:p>
        </p:txBody>
      </p:sp>
      <p:sp>
        <p:nvSpPr>
          <p:cNvPr id="29" name="pole tekstowe 28">
            <a:extLst>
              <a:ext uri="{FF2B5EF4-FFF2-40B4-BE49-F238E27FC236}">
                <a16:creationId xmlns:a16="http://schemas.microsoft.com/office/drawing/2014/main" id="{1B90857E-EA41-5967-1631-A808B5AAF9A9}"/>
              </a:ext>
            </a:extLst>
          </p:cNvPr>
          <p:cNvSpPr txBox="1"/>
          <p:nvPr/>
        </p:nvSpPr>
        <p:spPr bwMode="gray">
          <a:xfrm>
            <a:off x="983328" y="5121540"/>
            <a:ext cx="1019624" cy="276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09"/>
            <a:r>
              <a:rPr lang="pl-PL" i="1" baseline="30000">
                <a:solidFill>
                  <a:srgbClr val="89D329"/>
                </a:solidFill>
                <a:latin typeface="HelveticaNeueLT Pro 45 Lt" panose="020B0403020202020204" pitchFamily="34" charset="-18"/>
              </a:rPr>
              <a:t>11:50-12:50</a:t>
            </a:r>
          </a:p>
        </p:txBody>
      </p:sp>
      <p:sp>
        <p:nvSpPr>
          <p:cNvPr id="30" name="pole tekstowe 29">
            <a:extLst>
              <a:ext uri="{FF2B5EF4-FFF2-40B4-BE49-F238E27FC236}">
                <a16:creationId xmlns:a16="http://schemas.microsoft.com/office/drawing/2014/main" id="{26E9FCBA-F4BE-5415-3E74-D96967B98418}"/>
              </a:ext>
            </a:extLst>
          </p:cNvPr>
          <p:cNvSpPr txBox="1"/>
          <p:nvPr/>
        </p:nvSpPr>
        <p:spPr bwMode="gray">
          <a:xfrm>
            <a:off x="983328" y="5949365"/>
            <a:ext cx="1019624" cy="276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09"/>
            <a:r>
              <a:rPr lang="pl-PL" i="1" baseline="30000">
                <a:solidFill>
                  <a:srgbClr val="89D329"/>
                </a:solidFill>
                <a:latin typeface="HelveticaNeueLT Pro 45 Lt" panose="020B0403020202020204" pitchFamily="34" charset="-18"/>
              </a:rPr>
              <a:t>12:50-13:00</a:t>
            </a:r>
          </a:p>
        </p:txBody>
      </p:sp>
      <p:sp>
        <p:nvSpPr>
          <p:cNvPr id="31" name="pole tekstowe 30">
            <a:extLst>
              <a:ext uri="{FF2B5EF4-FFF2-40B4-BE49-F238E27FC236}">
                <a16:creationId xmlns:a16="http://schemas.microsoft.com/office/drawing/2014/main" id="{E25D2A65-8F3D-0C62-BF0E-544436232B19}"/>
              </a:ext>
            </a:extLst>
          </p:cNvPr>
          <p:cNvSpPr txBox="1"/>
          <p:nvPr/>
        </p:nvSpPr>
        <p:spPr bwMode="gray">
          <a:xfrm>
            <a:off x="983327" y="6225742"/>
            <a:ext cx="1019624" cy="276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09"/>
            <a:r>
              <a:rPr lang="pl-PL" i="1" baseline="30000">
                <a:solidFill>
                  <a:srgbClr val="89D329"/>
                </a:solidFill>
                <a:latin typeface="HelveticaNeueLT Pro 45 Lt" panose="020B0403020202020204" pitchFamily="34" charset="-18"/>
              </a:rPr>
              <a:t>13:00-15:30</a:t>
            </a:r>
          </a:p>
        </p:txBody>
      </p:sp>
      <p:sp>
        <p:nvSpPr>
          <p:cNvPr id="32" name="pole tekstowe 31">
            <a:extLst>
              <a:ext uri="{FF2B5EF4-FFF2-40B4-BE49-F238E27FC236}">
                <a16:creationId xmlns:a16="http://schemas.microsoft.com/office/drawing/2014/main" id="{70CA0215-D704-A234-C64C-892CA6C10664}"/>
              </a:ext>
            </a:extLst>
          </p:cNvPr>
          <p:cNvSpPr txBox="1"/>
          <p:nvPr/>
        </p:nvSpPr>
        <p:spPr bwMode="gray">
          <a:xfrm>
            <a:off x="983324" y="6507874"/>
            <a:ext cx="1019624" cy="276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914309"/>
            <a:r>
              <a:rPr lang="pl-PL" i="1" baseline="30000">
                <a:solidFill>
                  <a:srgbClr val="89D329"/>
                </a:solidFill>
                <a:latin typeface="HelveticaNeueLT Pro 45 Lt" panose="020B0403020202020204" pitchFamily="34" charset="-18"/>
              </a:rPr>
              <a:t>15:30-16:00</a:t>
            </a:r>
          </a:p>
        </p:txBody>
      </p:sp>
      <p:pic>
        <p:nvPicPr>
          <p:cNvPr id="40" name="Grafika 39">
            <a:extLst>
              <a:ext uri="{FF2B5EF4-FFF2-40B4-BE49-F238E27FC236}">
                <a16:creationId xmlns:a16="http://schemas.microsoft.com/office/drawing/2014/main" id="{69A4A181-D7B5-6120-4057-C5EB387BAA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30773" y="5941916"/>
            <a:ext cx="1700637" cy="501827"/>
          </a:xfrm>
          <a:prstGeom prst="rect">
            <a:avLst/>
          </a:prstGeom>
        </p:spPr>
      </p:pic>
      <p:pic>
        <p:nvPicPr>
          <p:cNvPr id="42" name="Grafika 41">
            <a:extLst>
              <a:ext uri="{FF2B5EF4-FFF2-40B4-BE49-F238E27FC236}">
                <a16:creationId xmlns:a16="http://schemas.microsoft.com/office/drawing/2014/main" id="{1EF8B220-EB47-766A-D7A9-8AE6524FD2F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84298" y="5985908"/>
            <a:ext cx="1979636" cy="445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24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1nKQuTNMdJtlvDsSNMq5YEAAAAAAADAAAAAAADAAAAAwADAAIA////////BQAAAAMAEAALBronhDbEMUaSC+URDbN+/gQAAAABAAMAAAACAAMAAAAEAAMAAAAAAP///////wQAAQD///////8FAAAABAAQAAukvgmWna6YS7fVvkIDPCt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HWcpC5M0x0m2W8OxI0yrlgNEYXRhAFMAAAAIUHJlc2VudGF0aW9uU2Nhbm5lZEZvckxpbmtlZFNoYXBlcwABAk51bWJlckZvcm1hdFNlcGFyYXRvck1vZGUACgAAAEF1dG9tYXRpYwAAAk5hbWUAJAAAAExpbmtlZFNoYXBlUHJlc2VudGF0aW9uU2V0dGluZ3NEYXRhABBWZXJzaW9uAAAAAAAJTGFzdFdyaXRlAG9bpH2GAQAAAAEA/////4MAgwAAAAVfaWQAEAAAAAQGuieENsQxRpIL5RENs37+A0RhdGEAGwAAAARMaW5rZWRTaGFwZURhdGEABQAAAAAAAk5hbWUAGQAAAExpbmtlZFNoYXBlc0RhdGFQcm9wZXJ0eQAQVmVyc2lvbgAAAAAACUxhc3RXcml0ZQBWW6R9hgEAAAACAP////+DAIMAAAAFX2lkABAAAAAEpL4Jlp2umEu31b5CAzwrZwNEYXRhABsAAAAETGlua2VkU2hhcGVEYXRhAAUAAAAAAAJOYW1lABkAAABMaW5rZWRTaGFwZXNEYXRhUHJvcGVydHkAEFZlcnNpb24AAQAAAAlMYXN0V3JpdGUANsTea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C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JQAGTGlua2VkU2hhcGVQcmVzZW50YXRpb25TZXR0aW5nc0RhdGFfMAQAAAAAAAUAAAAAAAUAAAADAAMAAgEDAAAAAwD///////8aAAZMaW5rZWRTaGFwZXNEYXRhUHJvcGVydHlfMAQAAAABAAUAAAACAAUAAAAEAAUAAAAAAP///////wQAAQEDAAAABAD///////8aAAZMaW5rZWRTaGFwZXNEYXRhUHJvcGVydHlfMQQAAAACAAUAAAAD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339018661195260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4_Bay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10384F"/>
      </a:folHlink>
    </a:clrScheme>
    <a:fontScheme name="Bayer_01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2.xml><?xml version="1.0" encoding="utf-8"?>
<a:theme xmlns:a="http://schemas.openxmlformats.org/drawingml/2006/main" name="2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9A189C13A9044EBD6B408F15909624" ma:contentTypeVersion="7" ma:contentTypeDescription="Create a new document." ma:contentTypeScope="" ma:versionID="43de61f4c8fa340320634d96a53fed52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c4b6a05a-275c-46bc-8fdb-1661621e0540" targetNamespace="http://schemas.microsoft.com/office/2006/metadata/properties" ma:root="true" ma:fieldsID="7650b91e219d5ceaf16ea545677f2567" ns1:_="" ns2:_="" ns3:_="">
    <xsd:import namespace="http://schemas.microsoft.com/sharepoint/v3"/>
    <xsd:import namespace="1a4d292e-883c-434b-96e3-060cfff16c86"/>
    <xsd:import namespace="c4b6a05a-275c-46bc-8fdb-1661621e0540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Metadata" minOccurs="0"/>
                <xsd:element ref="ns3:MediaServiceFastMetadata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3d738a80-e642-4128-ad3a-7c586dc2268e}" ma:internalName="TaxCatchAll" ma:showField="CatchAllData" ma:web="1938c78e-5505-4b5d-a44a-e8e84256e3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3d738a80-e642-4128-ad3a-7c586dc2268e}" ma:internalName="TaxCatchAllLabel" ma:readOnly="true" ma:showField="CatchAllDataLabel" ma:web="1938c78e-5505-4b5d-a44a-e8e84256e3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b6a05a-275c-46bc-8fdb-1661621e05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7bc43322-b630-4bac-8b27-31def233d1d0" ContentTypeId="0x0101" PreviousValue="false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 xsi:nil="true"/>
    <_dlc_ExpireDateSaved xmlns="http://schemas.microsoft.com/sharepoint/v3" xsi:nil="true"/>
    <_dlc_ExpireDate xmlns="http://schemas.microsoft.com/sharepoint/v3" xsi:nil="true"/>
    <_dlc_Exempt xmlns="http://schemas.microsoft.com/sharepoint/v3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026DB78-E62D-4396-B109-6CD47C5354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c4b6a05a-275c-46bc-8fdb-1661621e05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1B7AF79-01D1-4CF4-B268-3ACA89E9E186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CCFC9704-D755-4C47-8E6A-CDDC1E361790}">
  <ds:schemaRefs>
    <ds:schemaRef ds:uri="1a4d292e-883c-434b-96e3-060cfff16c86"/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4.xml><?xml version="1.0" encoding="utf-8"?>
<ds:datastoreItem xmlns:ds="http://schemas.openxmlformats.org/officeDocument/2006/customXml" ds:itemID="{DDF355CC-245D-4E5E-BECD-81C21E9B2AE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44</Words>
  <Application>Microsoft Office PowerPoint</Application>
  <PresentationFormat>Niestandardowy</PresentationFormat>
  <Paragraphs>31</Paragraphs>
  <Slides>2</Slides>
  <Notes>1</Notes>
  <HiddenSlides>0</HiddenSlides>
  <MMClips>0</MMClips>
  <ScaleCrop>false</ScaleCrop>
  <HeadingPairs>
    <vt:vector size="8" baseType="variant">
      <vt:variant>
        <vt:lpstr>Używane czcionki</vt:lpstr>
      </vt:variant>
      <vt:variant>
        <vt:i4>8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</vt:i4>
      </vt:variant>
    </vt:vector>
  </HeadingPairs>
  <TitlesOfParts>
    <vt:vector size="13" baseType="lpstr">
      <vt:lpstr>Arial</vt:lpstr>
      <vt:lpstr>Calibri</vt:lpstr>
      <vt:lpstr>Courier New</vt:lpstr>
      <vt:lpstr>HelveticaNeueLT Pro 45 Lt</vt:lpstr>
      <vt:lpstr>HelveticaNeueLT Pro 55 Roman</vt:lpstr>
      <vt:lpstr>HelveticaNeueLT Pro 65 Md</vt:lpstr>
      <vt:lpstr>Roboto</vt:lpstr>
      <vt:lpstr>Roboto Light</vt:lpstr>
      <vt:lpstr>4_Bayer_16-9</vt:lpstr>
      <vt:lpstr>2_PR_BAG_PPT-master_16-9</vt:lpstr>
      <vt:lpstr>think-cell Slide</vt:lpstr>
      <vt:lpstr>Prezentacja programu PowerPoint</vt:lpstr>
      <vt:lpstr>emPOWER Climate: Sustainability Tal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Agnes Klapcsik</dc:creator>
  <cp:lastModifiedBy>Ewa Michota-Katulska</cp:lastModifiedBy>
  <cp:revision>3</cp:revision>
  <cp:lastPrinted>2017-10-23T10:44:12Z</cp:lastPrinted>
  <dcterms:created xsi:type="dcterms:W3CDTF">2023-10-26T07:24:25Z</dcterms:created>
  <dcterms:modified xsi:type="dcterms:W3CDTF">2023-11-10T10:08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ClassificationContentMarkingFooterLocations">
    <vt:lpwstr>PR_BAG_PPT-master_16-9:9</vt:lpwstr>
  </property>
  <property fmtid="{D5CDD505-2E9C-101B-9397-08002B2CF9AE}" pid="4" name="ClassificationContentMarkingFooterText">
    <vt:lpwstr>RESTRICTED</vt:lpwstr>
  </property>
  <property fmtid="{D5CDD505-2E9C-101B-9397-08002B2CF9AE}" pid="5" name="MSIP_Label_7f850223-87a8-40c3-9eb2-432606efca2a_Enabled">
    <vt:lpwstr>true</vt:lpwstr>
  </property>
  <property fmtid="{D5CDD505-2E9C-101B-9397-08002B2CF9AE}" pid="6" name="MSIP_Label_7f850223-87a8-40c3-9eb2-432606efca2a_SetDate">
    <vt:lpwstr>2023-10-26T07:35:23Z</vt:lpwstr>
  </property>
  <property fmtid="{D5CDD505-2E9C-101B-9397-08002B2CF9AE}" pid="7" name="MSIP_Label_7f850223-87a8-40c3-9eb2-432606efca2a_Method">
    <vt:lpwstr>Privileged</vt:lpwstr>
  </property>
  <property fmtid="{D5CDD505-2E9C-101B-9397-08002B2CF9AE}" pid="8" name="MSIP_Label_7f850223-87a8-40c3-9eb2-432606efca2a_Name">
    <vt:lpwstr>7f850223-87a8-40c3-9eb2-432606efca2a</vt:lpwstr>
  </property>
  <property fmtid="{D5CDD505-2E9C-101B-9397-08002B2CF9AE}" pid="9" name="MSIP_Label_7f850223-87a8-40c3-9eb2-432606efca2a_SiteId">
    <vt:lpwstr>fcb2b37b-5da0-466b-9b83-0014b67a7c78</vt:lpwstr>
  </property>
  <property fmtid="{D5CDD505-2E9C-101B-9397-08002B2CF9AE}" pid="10" name="MSIP_Label_7f850223-87a8-40c3-9eb2-432606efca2a_ActionId">
    <vt:lpwstr>673d6fdc-2ece-40a1-b603-bad28fa99b50</vt:lpwstr>
  </property>
  <property fmtid="{D5CDD505-2E9C-101B-9397-08002B2CF9AE}" pid="11" name="MSIP_Label_7f850223-87a8-40c3-9eb2-432606efca2a_ContentBits">
    <vt:lpwstr>0</vt:lpwstr>
  </property>
  <property fmtid="{D5CDD505-2E9C-101B-9397-08002B2CF9AE}" pid="12" name="ContentTypeId">
    <vt:lpwstr>0x0101006E9A189C13A9044EBD6B408F15909624</vt:lpwstr>
  </property>
</Properties>
</file>